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7"/>
  </p:notesMasterIdLst>
  <p:sldIdLst>
    <p:sldId id="411" r:id="rId3"/>
    <p:sldId id="412" r:id="rId4"/>
    <p:sldId id="480" r:id="rId5"/>
    <p:sldId id="261" r:id="rId6"/>
    <p:sldId id="262" r:id="rId7"/>
    <p:sldId id="510" r:id="rId8"/>
    <p:sldId id="511" r:id="rId9"/>
    <p:sldId id="463" r:id="rId10"/>
    <p:sldId id="347" r:id="rId11"/>
    <p:sldId id="495" r:id="rId12"/>
    <p:sldId id="500" r:id="rId13"/>
    <p:sldId id="496" r:id="rId14"/>
    <p:sldId id="348" r:id="rId15"/>
    <p:sldId id="514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1CBF52-26EE-43F6-801D-4AE3904E9160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7D286EC9-E775-46D2-9993-561CB6BD2367}">
      <dgm:prSet phldrT="[Text]"/>
      <dgm:spPr>
        <a:solidFill>
          <a:srgbClr val="FF0000"/>
        </a:solidFill>
      </dgm:spPr>
      <dgm:t>
        <a:bodyPr/>
        <a:lstStyle/>
        <a:p>
          <a:r>
            <a:rPr lang="en-US" b="1" dirty="0"/>
            <a:t>Reputation</a:t>
          </a:r>
        </a:p>
      </dgm:t>
    </dgm:pt>
    <dgm:pt modelId="{1E2D6458-FD8D-47A7-B2C9-97F0E21F58A6}" type="parTrans" cxnId="{E5D6294B-3964-4F8B-A219-7ABEBA238C44}">
      <dgm:prSet/>
      <dgm:spPr/>
      <dgm:t>
        <a:bodyPr/>
        <a:lstStyle/>
        <a:p>
          <a:endParaRPr lang="en-US"/>
        </a:p>
      </dgm:t>
    </dgm:pt>
    <dgm:pt modelId="{E4CA5DD8-77DA-40C8-B524-5CEDB12EDEDA}" type="sibTrans" cxnId="{E5D6294B-3964-4F8B-A219-7ABEBA238C44}">
      <dgm:prSet/>
      <dgm:spPr/>
      <dgm:t>
        <a:bodyPr/>
        <a:lstStyle/>
        <a:p>
          <a:endParaRPr lang="en-US"/>
        </a:p>
      </dgm:t>
    </dgm:pt>
    <dgm:pt modelId="{F1A00A78-773C-454A-98CB-5408DE177B94}">
      <dgm:prSet phldrT="[Text]"/>
      <dgm:spPr>
        <a:solidFill>
          <a:srgbClr val="036DB5">
            <a:alpha val="50000"/>
          </a:srgbClr>
        </a:solidFill>
      </dgm:spPr>
      <dgm:t>
        <a:bodyPr/>
        <a:lstStyle/>
        <a:p>
          <a:r>
            <a:rPr lang="en-US" b="1" dirty="0"/>
            <a:t>Performance</a:t>
          </a:r>
        </a:p>
      </dgm:t>
    </dgm:pt>
    <dgm:pt modelId="{18E70BD3-1334-4948-B57B-FEAE77EE8BE4}" type="parTrans" cxnId="{AB6B24BC-C7BC-4976-A026-B34C86CE5E95}">
      <dgm:prSet/>
      <dgm:spPr/>
      <dgm:t>
        <a:bodyPr/>
        <a:lstStyle/>
        <a:p>
          <a:endParaRPr lang="en-US"/>
        </a:p>
      </dgm:t>
    </dgm:pt>
    <dgm:pt modelId="{DEB37611-BB76-47D3-AF0E-DE88F4782413}" type="sibTrans" cxnId="{AB6B24BC-C7BC-4976-A026-B34C86CE5E95}">
      <dgm:prSet/>
      <dgm:spPr/>
      <dgm:t>
        <a:bodyPr/>
        <a:lstStyle/>
        <a:p>
          <a:endParaRPr lang="en-US"/>
        </a:p>
      </dgm:t>
    </dgm:pt>
    <dgm:pt modelId="{0CBD4E2C-FA6E-4627-8B85-9187A084B41A}">
      <dgm:prSet phldrT="[Text]"/>
      <dgm:spPr>
        <a:solidFill>
          <a:srgbClr val="00B050"/>
        </a:solidFill>
      </dgm:spPr>
      <dgm:t>
        <a:bodyPr/>
        <a:lstStyle/>
        <a:p>
          <a:r>
            <a:rPr lang="en-US" b="1" dirty="0"/>
            <a:t>Fiduciary</a:t>
          </a:r>
        </a:p>
      </dgm:t>
    </dgm:pt>
    <dgm:pt modelId="{954C21F7-82B4-446D-A56F-63AC41D66338}" type="parTrans" cxnId="{0C0B84C0-2C6B-4D08-8E3A-A08B1F7045BF}">
      <dgm:prSet/>
      <dgm:spPr/>
      <dgm:t>
        <a:bodyPr/>
        <a:lstStyle/>
        <a:p>
          <a:endParaRPr lang="en-US"/>
        </a:p>
      </dgm:t>
    </dgm:pt>
    <dgm:pt modelId="{1DA39041-DF60-4C11-9863-DC990B26609A}" type="sibTrans" cxnId="{0C0B84C0-2C6B-4D08-8E3A-A08B1F7045BF}">
      <dgm:prSet/>
      <dgm:spPr/>
      <dgm:t>
        <a:bodyPr/>
        <a:lstStyle/>
        <a:p>
          <a:endParaRPr lang="en-US"/>
        </a:p>
      </dgm:t>
    </dgm:pt>
    <dgm:pt modelId="{F7600ACE-CB7C-49F6-9B90-B675F9E97E95}" type="pres">
      <dgm:prSet presAssocID="{2E1CBF52-26EE-43F6-801D-4AE3904E9160}" presName="compositeShape" presStyleCnt="0">
        <dgm:presLayoutVars>
          <dgm:chMax val="7"/>
          <dgm:dir/>
          <dgm:resizeHandles val="exact"/>
        </dgm:presLayoutVars>
      </dgm:prSet>
      <dgm:spPr/>
    </dgm:pt>
    <dgm:pt modelId="{32838C51-101E-4F81-9C05-117D4D7EDA73}" type="pres">
      <dgm:prSet presAssocID="{7D286EC9-E775-46D2-9993-561CB6BD2367}" presName="circ1" presStyleLbl="vennNode1" presStyleIdx="0" presStyleCnt="3" custLinFactNeighborY="-2149"/>
      <dgm:spPr/>
    </dgm:pt>
    <dgm:pt modelId="{6F0AC8FD-64A7-4789-84E2-28ACB2C9B8A9}" type="pres">
      <dgm:prSet presAssocID="{7D286EC9-E775-46D2-9993-561CB6BD2367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9CA544BA-4347-47C2-952A-2CBAFD7B6249}" type="pres">
      <dgm:prSet presAssocID="{F1A00A78-773C-454A-98CB-5408DE177B94}" presName="circ2" presStyleLbl="vennNode1" presStyleIdx="1" presStyleCnt="3"/>
      <dgm:spPr/>
    </dgm:pt>
    <dgm:pt modelId="{908D0A55-EC63-40A8-A707-58559F3CFD43}" type="pres">
      <dgm:prSet presAssocID="{F1A00A78-773C-454A-98CB-5408DE177B9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C0CE0E84-E2A3-4D95-8CA3-B1829247C7DD}" type="pres">
      <dgm:prSet presAssocID="{0CBD4E2C-FA6E-4627-8B85-9187A084B41A}" presName="circ3" presStyleLbl="vennNode1" presStyleIdx="2" presStyleCnt="3"/>
      <dgm:spPr/>
    </dgm:pt>
    <dgm:pt modelId="{67AD5215-FD18-4656-8B39-8D0FAD737ACD}" type="pres">
      <dgm:prSet presAssocID="{0CBD4E2C-FA6E-4627-8B85-9187A084B41A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A662422A-1C19-4234-9BAF-5E3324A84A4B}" type="presOf" srcId="{F1A00A78-773C-454A-98CB-5408DE177B94}" destId="{908D0A55-EC63-40A8-A707-58559F3CFD43}" srcOrd="1" destOrd="0" presId="urn:microsoft.com/office/officeart/2005/8/layout/venn1"/>
    <dgm:cxn modelId="{74F5592F-C50A-436D-8E77-B695D9C0C5A9}" type="presOf" srcId="{7D286EC9-E775-46D2-9993-561CB6BD2367}" destId="{6F0AC8FD-64A7-4789-84E2-28ACB2C9B8A9}" srcOrd="1" destOrd="0" presId="urn:microsoft.com/office/officeart/2005/8/layout/venn1"/>
    <dgm:cxn modelId="{3EA28468-AB84-4BCD-B345-9E560C3DE912}" type="presOf" srcId="{F1A00A78-773C-454A-98CB-5408DE177B94}" destId="{9CA544BA-4347-47C2-952A-2CBAFD7B6249}" srcOrd="0" destOrd="0" presId="urn:microsoft.com/office/officeart/2005/8/layout/venn1"/>
    <dgm:cxn modelId="{A9BB384A-1C60-4542-974E-8A9E5ED7D13C}" type="presOf" srcId="{0CBD4E2C-FA6E-4627-8B85-9187A084B41A}" destId="{67AD5215-FD18-4656-8B39-8D0FAD737ACD}" srcOrd="1" destOrd="0" presId="urn:microsoft.com/office/officeart/2005/8/layout/venn1"/>
    <dgm:cxn modelId="{E5D6294B-3964-4F8B-A219-7ABEBA238C44}" srcId="{2E1CBF52-26EE-43F6-801D-4AE3904E9160}" destId="{7D286EC9-E775-46D2-9993-561CB6BD2367}" srcOrd="0" destOrd="0" parTransId="{1E2D6458-FD8D-47A7-B2C9-97F0E21F58A6}" sibTransId="{E4CA5DD8-77DA-40C8-B524-5CEDB12EDEDA}"/>
    <dgm:cxn modelId="{71A33475-EEE8-4C82-B6B2-D973D8E46638}" type="presOf" srcId="{0CBD4E2C-FA6E-4627-8B85-9187A084B41A}" destId="{C0CE0E84-E2A3-4D95-8CA3-B1829247C7DD}" srcOrd="0" destOrd="0" presId="urn:microsoft.com/office/officeart/2005/8/layout/venn1"/>
    <dgm:cxn modelId="{51074578-452E-440B-9411-98B5DA6D314E}" type="presOf" srcId="{7D286EC9-E775-46D2-9993-561CB6BD2367}" destId="{32838C51-101E-4F81-9C05-117D4D7EDA73}" srcOrd="0" destOrd="0" presId="urn:microsoft.com/office/officeart/2005/8/layout/venn1"/>
    <dgm:cxn modelId="{E005ADB6-445F-46EF-9FC9-9FE45B8DA447}" type="presOf" srcId="{2E1CBF52-26EE-43F6-801D-4AE3904E9160}" destId="{F7600ACE-CB7C-49F6-9B90-B675F9E97E95}" srcOrd="0" destOrd="0" presId="urn:microsoft.com/office/officeart/2005/8/layout/venn1"/>
    <dgm:cxn modelId="{AB6B24BC-C7BC-4976-A026-B34C86CE5E95}" srcId="{2E1CBF52-26EE-43F6-801D-4AE3904E9160}" destId="{F1A00A78-773C-454A-98CB-5408DE177B94}" srcOrd="1" destOrd="0" parTransId="{18E70BD3-1334-4948-B57B-FEAE77EE8BE4}" sibTransId="{DEB37611-BB76-47D3-AF0E-DE88F4782413}"/>
    <dgm:cxn modelId="{0C0B84C0-2C6B-4D08-8E3A-A08B1F7045BF}" srcId="{2E1CBF52-26EE-43F6-801D-4AE3904E9160}" destId="{0CBD4E2C-FA6E-4627-8B85-9187A084B41A}" srcOrd="2" destOrd="0" parTransId="{954C21F7-82B4-446D-A56F-63AC41D66338}" sibTransId="{1DA39041-DF60-4C11-9863-DC990B26609A}"/>
    <dgm:cxn modelId="{BC7F9D32-D258-48FD-857B-10F52407F110}" type="presParOf" srcId="{F7600ACE-CB7C-49F6-9B90-B675F9E97E95}" destId="{32838C51-101E-4F81-9C05-117D4D7EDA73}" srcOrd="0" destOrd="0" presId="urn:microsoft.com/office/officeart/2005/8/layout/venn1"/>
    <dgm:cxn modelId="{565306FE-C719-4054-B94A-3BD6896F02FA}" type="presParOf" srcId="{F7600ACE-CB7C-49F6-9B90-B675F9E97E95}" destId="{6F0AC8FD-64A7-4789-84E2-28ACB2C9B8A9}" srcOrd="1" destOrd="0" presId="urn:microsoft.com/office/officeart/2005/8/layout/venn1"/>
    <dgm:cxn modelId="{007EEDD9-B23C-4B31-A706-B27CADBA7603}" type="presParOf" srcId="{F7600ACE-CB7C-49F6-9B90-B675F9E97E95}" destId="{9CA544BA-4347-47C2-952A-2CBAFD7B6249}" srcOrd="2" destOrd="0" presId="urn:microsoft.com/office/officeart/2005/8/layout/venn1"/>
    <dgm:cxn modelId="{4983C1CC-CBE4-417C-9B5E-9D5A7F30B05C}" type="presParOf" srcId="{F7600ACE-CB7C-49F6-9B90-B675F9E97E95}" destId="{908D0A55-EC63-40A8-A707-58559F3CFD43}" srcOrd="3" destOrd="0" presId="urn:microsoft.com/office/officeart/2005/8/layout/venn1"/>
    <dgm:cxn modelId="{3EA89199-34EB-4975-B283-13F3DDB1CFF0}" type="presParOf" srcId="{F7600ACE-CB7C-49F6-9B90-B675F9E97E95}" destId="{C0CE0E84-E2A3-4D95-8CA3-B1829247C7DD}" srcOrd="4" destOrd="0" presId="urn:microsoft.com/office/officeart/2005/8/layout/venn1"/>
    <dgm:cxn modelId="{F75BA589-7B63-4607-B0AF-DAED77DE13BD}" type="presParOf" srcId="{F7600ACE-CB7C-49F6-9B90-B675F9E97E95}" destId="{67AD5215-FD18-4656-8B39-8D0FAD737ACD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838C51-101E-4F81-9C05-117D4D7EDA73}">
      <dsp:nvSpPr>
        <dsp:cNvPr id="0" name=""/>
        <dsp:cNvSpPr/>
      </dsp:nvSpPr>
      <dsp:spPr>
        <a:xfrm>
          <a:off x="2757011" y="0"/>
          <a:ext cx="2715577" cy="2715577"/>
        </a:xfrm>
        <a:prstGeom prst="ellipse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Reputation</a:t>
          </a:r>
        </a:p>
      </dsp:txBody>
      <dsp:txXfrm>
        <a:off x="3119088" y="475226"/>
        <a:ext cx="1991423" cy="1222010"/>
      </dsp:txXfrm>
    </dsp:sp>
    <dsp:sp modelId="{9CA544BA-4347-47C2-952A-2CBAFD7B6249}">
      <dsp:nvSpPr>
        <dsp:cNvPr id="0" name=""/>
        <dsp:cNvSpPr/>
      </dsp:nvSpPr>
      <dsp:spPr>
        <a:xfrm>
          <a:off x="3736882" y="1753810"/>
          <a:ext cx="2715577" cy="2715577"/>
        </a:xfrm>
        <a:prstGeom prst="ellipse">
          <a:avLst/>
        </a:prstGeom>
        <a:solidFill>
          <a:srgbClr val="036DB5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Performance</a:t>
          </a:r>
        </a:p>
      </dsp:txBody>
      <dsp:txXfrm>
        <a:off x="4567396" y="2455334"/>
        <a:ext cx="1629346" cy="1493567"/>
      </dsp:txXfrm>
    </dsp:sp>
    <dsp:sp modelId="{C0CE0E84-E2A3-4D95-8CA3-B1829247C7DD}">
      <dsp:nvSpPr>
        <dsp:cNvPr id="0" name=""/>
        <dsp:cNvSpPr/>
      </dsp:nvSpPr>
      <dsp:spPr>
        <a:xfrm>
          <a:off x="1777140" y="1753810"/>
          <a:ext cx="2715577" cy="2715577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Fiduciary</a:t>
          </a:r>
        </a:p>
      </dsp:txBody>
      <dsp:txXfrm>
        <a:off x="2032857" y="2455334"/>
        <a:ext cx="1629346" cy="14935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A273E5-8224-473A-974F-EAA46002A323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4ECAA-1332-4F10-8B8C-B94BCEC131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55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FC107B-3C2B-4BC8-9991-EF62C92D68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377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AED377-4907-4B49-98B2-EF9CB3A7EC3A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8091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AFD314-9863-40BD-84BA-27EF8E45AB9D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290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290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en-US" dirty="0">
                <a:latin typeface="Arial" pitchFamily="34" charset="0"/>
              </a:rPr>
              <a:t>FAR 2.101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5" Type="http://schemas.openxmlformats.org/officeDocument/2006/relationships/image" Target="../media/image10.w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emf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3.png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82605B-D3BE-4C5B-9FA9-ACC383C522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040A84-ED33-4257-B123-0C164C6E1E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189D2-BFBF-4DBB-82BF-59F6442F3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6D9884-691C-474B-B842-BCF693C098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572D0D-77C6-4367-819D-C2090CD4C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569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0C230-2AEF-4EFB-9365-4552BC4A1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B11B72-47D9-4E0F-9F7B-D5C013F497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A55EBA-EA96-4280-ADD4-B9767D8A0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F8E172-B6DF-414E-A24D-5E1224889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C79338-3D28-4568-90D0-609897E8F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395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8DE332-F29E-4B50-A4CC-D3D7869AC3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9E7662-B3E8-4C84-B387-EC5B425D61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E048B0-2D97-4070-B4F7-28CEDEA71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7C6F97-CB0F-4A43-8B7F-8266196CAE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0DE762-360B-4696-85EA-31F2C7A2A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7538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0">
            <a:extLst>
              <a:ext uri="{FF2B5EF4-FFF2-40B4-BE49-F238E27FC236}">
                <a16:creationId xmlns:a16="http://schemas.microsoft.com/office/drawing/2014/main" id="{49E00309-98E8-4A16-A46C-344A14F9C352}"/>
              </a:ext>
            </a:extLst>
          </p:cNvPr>
          <p:cNvGraphicFramePr>
            <a:graphicFrameLocks noGrp="1"/>
          </p:cNvGraphicFramePr>
          <p:nvPr/>
        </p:nvGraphicFramePr>
        <p:xfrm>
          <a:off x="334434" y="1111250"/>
          <a:ext cx="11523133" cy="517576"/>
        </p:xfrm>
        <a:graphic>
          <a:graphicData uri="http://schemas.openxmlformats.org/drawingml/2006/table">
            <a:tbl>
              <a:tblPr/>
              <a:tblGrid>
                <a:gridCol w="11523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7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121920" marR="121920" marT="45428" marB="45428" horzOverflow="overflow">
                    <a:lnL cap="flat">
                      <a:noFill/>
                    </a:lnL>
                    <a:lnR cap="flat">
                      <a:noFill/>
                    </a:lnR>
                    <a:lnT w="38100" cap="flat" cmpd="sng" algn="ctr">
                      <a:solidFill>
                        <a:srgbClr val="A50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727D5F8-7E8C-4BB6-945C-CCFC484172C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130175"/>
            <a:ext cx="4284133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47C47230-86BD-4C29-B250-CC62C9BE4F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00" y="122239"/>
            <a:ext cx="1151467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35E5171A-8DD4-421C-9C93-7998003F3F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385" y="177801"/>
            <a:ext cx="102023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>
            <a:extLst>
              <a:ext uri="{FF2B5EF4-FFF2-40B4-BE49-F238E27FC236}">
                <a16:creationId xmlns:a16="http://schemas.microsoft.com/office/drawing/2014/main" id="{84B60A5A-8A55-4E11-BF01-9D355183D4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34" y="333376"/>
            <a:ext cx="231351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4">
            <a:extLst>
              <a:ext uri="{FF2B5EF4-FFF2-40B4-BE49-F238E27FC236}">
                <a16:creationId xmlns:a16="http://schemas.microsoft.com/office/drawing/2014/main" id="{2DB7F4E3-BF46-454A-87FA-F32B150818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9867" y="233363"/>
            <a:ext cx="164253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5">
            <a:extLst>
              <a:ext uri="{FF2B5EF4-FFF2-40B4-BE49-F238E27FC236}">
                <a16:creationId xmlns:a16="http://schemas.microsoft.com/office/drawing/2014/main" id="{7A997214-7B65-43C3-BAE6-1BB400D13D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68800" y="6453189"/>
            <a:ext cx="3860800" cy="28098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r>
              <a:rPr lang="de-DE" altLang="en-US" sz="1200"/>
              <a:t>Slide </a:t>
            </a:r>
            <a:fld id="{33353540-398A-4C2B-ADEE-194875EF1D10}" type="slidenum">
              <a:rPr lang="de-DE" altLang="en-US" sz="1200" smtClean="0"/>
              <a:pPr algn="ctr" eaLnBrk="1" hangingPunct="1">
                <a:defRPr/>
              </a:pPr>
              <a:t>‹#›</a:t>
            </a:fld>
            <a:endParaRPr lang="de-DE" altLang="en-US" sz="1200"/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2B995277-5261-4BC8-AEAC-0BBE2491AA6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00" y="6237288"/>
            <a:ext cx="635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403" y="1205880"/>
            <a:ext cx="10862997" cy="782960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/>
          </p:nvPr>
        </p:nvSpPr>
        <p:spPr>
          <a:xfrm>
            <a:off x="719667" y="2060849"/>
            <a:ext cx="10847917" cy="4031977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7C5E860C-20DB-41C3-B9AF-008720D0E3D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799FD6-5930-46FD-BF90-6A2F98D16A04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739011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0">
            <a:extLst>
              <a:ext uri="{FF2B5EF4-FFF2-40B4-BE49-F238E27FC236}">
                <a16:creationId xmlns:a16="http://schemas.microsoft.com/office/drawing/2014/main" id="{6CF70C54-D73C-46BC-9F5E-3C06972A7086}"/>
              </a:ext>
            </a:extLst>
          </p:cNvPr>
          <p:cNvGraphicFramePr>
            <a:graphicFrameLocks noGrp="1"/>
          </p:cNvGraphicFramePr>
          <p:nvPr/>
        </p:nvGraphicFramePr>
        <p:xfrm>
          <a:off x="334434" y="1111250"/>
          <a:ext cx="11523133" cy="517576"/>
        </p:xfrm>
        <a:graphic>
          <a:graphicData uri="http://schemas.openxmlformats.org/drawingml/2006/table">
            <a:tbl>
              <a:tblPr/>
              <a:tblGrid>
                <a:gridCol w="11523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7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121920" marR="121920" marT="45428" marB="45428" horzOverflow="overflow">
                    <a:lnL cap="flat">
                      <a:noFill/>
                    </a:lnL>
                    <a:lnR cap="flat">
                      <a:noFill/>
                    </a:lnR>
                    <a:lnT w="38100" cap="flat" cmpd="sng" algn="ctr">
                      <a:solidFill>
                        <a:srgbClr val="A50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3EDF1B4-D67B-4075-B61F-432C138A25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130175"/>
            <a:ext cx="4284133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E2570534-484F-46D6-A11A-169DB24DF1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00" y="122239"/>
            <a:ext cx="1151467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C0CC1457-0832-4503-8608-9CCB9F128D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385" y="177801"/>
            <a:ext cx="102023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877E2E8D-18A0-451F-BADF-109E092CAD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34" y="333376"/>
            <a:ext cx="231351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4">
            <a:extLst>
              <a:ext uri="{FF2B5EF4-FFF2-40B4-BE49-F238E27FC236}">
                <a16:creationId xmlns:a16="http://schemas.microsoft.com/office/drawing/2014/main" id="{17BD9FB6-A7F0-4C66-8A1E-F88E32052A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9867" y="233363"/>
            <a:ext cx="164253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AT"/>
              <a:t>Master-Untertitelformat bearbeiten</a:t>
            </a:r>
            <a:endParaRPr lang="de-DE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21837BFA-4815-4C51-9036-842F63CFFFD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A10D37-180D-4667-B262-530287E14F3D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1836722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0">
            <a:extLst>
              <a:ext uri="{FF2B5EF4-FFF2-40B4-BE49-F238E27FC236}">
                <a16:creationId xmlns:a16="http://schemas.microsoft.com/office/drawing/2014/main" id="{B9F50A3D-5BA6-4D4E-A63C-A706A30F542F}"/>
              </a:ext>
            </a:extLst>
          </p:cNvPr>
          <p:cNvGraphicFramePr>
            <a:graphicFrameLocks noGrp="1"/>
          </p:cNvGraphicFramePr>
          <p:nvPr/>
        </p:nvGraphicFramePr>
        <p:xfrm>
          <a:off x="334434" y="1111250"/>
          <a:ext cx="11523133" cy="517576"/>
        </p:xfrm>
        <a:graphic>
          <a:graphicData uri="http://schemas.openxmlformats.org/drawingml/2006/table">
            <a:tbl>
              <a:tblPr/>
              <a:tblGrid>
                <a:gridCol w="11523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7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121920" marR="121920" marT="45428" marB="45428" horzOverflow="overflow">
                    <a:lnL cap="flat">
                      <a:noFill/>
                    </a:lnL>
                    <a:lnR cap="flat">
                      <a:noFill/>
                    </a:lnR>
                    <a:lnT w="38100" cap="flat" cmpd="sng" algn="ctr">
                      <a:solidFill>
                        <a:srgbClr val="A50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832835B-9E7D-4BE7-85EF-F6C14C7050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130175"/>
            <a:ext cx="4284133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D8B57072-EC55-4D22-9B1A-5D67A0D71C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00" y="122239"/>
            <a:ext cx="1151467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04442BF8-FDD4-4963-B51A-1B6A9CA4DA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385" y="177801"/>
            <a:ext cx="102023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6BC181D7-796A-43D0-A681-7AEDDD3139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34" y="333376"/>
            <a:ext cx="231351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4">
            <a:extLst>
              <a:ext uri="{FF2B5EF4-FFF2-40B4-BE49-F238E27FC236}">
                <a16:creationId xmlns:a16="http://schemas.microsoft.com/office/drawing/2014/main" id="{2D61566C-B72A-4B1F-BB96-87234FDF559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9867" y="233363"/>
            <a:ext cx="164253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14BD4F82-73DF-40B3-BBB5-411BE66E463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00" y="6237288"/>
            <a:ext cx="635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id="{EDE14463-04D1-4954-AB55-5656643F479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7E8DDF8C-4DC0-4C0B-B906-6BB90A5BD5E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B82AD-651A-4A61-BB76-24203C53FF87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58664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0">
            <a:extLst>
              <a:ext uri="{FF2B5EF4-FFF2-40B4-BE49-F238E27FC236}">
                <a16:creationId xmlns:a16="http://schemas.microsoft.com/office/drawing/2014/main" id="{85A1968A-CBA7-4B78-BF40-3A13AC67F6C2}"/>
              </a:ext>
            </a:extLst>
          </p:cNvPr>
          <p:cNvGraphicFramePr>
            <a:graphicFrameLocks noGrp="1"/>
          </p:cNvGraphicFramePr>
          <p:nvPr/>
        </p:nvGraphicFramePr>
        <p:xfrm>
          <a:off x="334434" y="1111250"/>
          <a:ext cx="11523133" cy="517576"/>
        </p:xfrm>
        <a:graphic>
          <a:graphicData uri="http://schemas.openxmlformats.org/drawingml/2006/table">
            <a:tbl>
              <a:tblPr/>
              <a:tblGrid>
                <a:gridCol w="11523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7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121920" marR="121920" marT="45428" marB="45428" horzOverflow="overflow">
                    <a:lnL cap="flat">
                      <a:noFill/>
                    </a:lnL>
                    <a:lnR cap="flat">
                      <a:noFill/>
                    </a:lnR>
                    <a:lnT w="38100" cap="flat" cmpd="sng" algn="ctr">
                      <a:solidFill>
                        <a:srgbClr val="A50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" name="Picture 4">
            <a:extLst>
              <a:ext uri="{FF2B5EF4-FFF2-40B4-BE49-F238E27FC236}">
                <a16:creationId xmlns:a16="http://schemas.microsoft.com/office/drawing/2014/main" id="{C6A4A53C-42A9-42AC-B3BA-97E78A75B0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130175"/>
            <a:ext cx="4284133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8F8F9DD2-86D7-4079-B437-385280C4E3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00" y="122239"/>
            <a:ext cx="1151467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6F82B4C0-0580-43CF-9FEE-08F80549E2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385" y="177801"/>
            <a:ext cx="102023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>
            <a:extLst>
              <a:ext uri="{FF2B5EF4-FFF2-40B4-BE49-F238E27FC236}">
                <a16:creationId xmlns:a16="http://schemas.microsoft.com/office/drawing/2014/main" id="{4C5BF18D-6CB0-4874-864C-04D775FCA0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34" y="333376"/>
            <a:ext cx="231351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4">
            <a:extLst>
              <a:ext uri="{FF2B5EF4-FFF2-40B4-BE49-F238E27FC236}">
                <a16:creationId xmlns:a16="http://schemas.microsoft.com/office/drawing/2014/main" id="{4AB76BA0-20D4-49DB-A742-B1F7B11F62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9867" y="233363"/>
            <a:ext cx="164253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471623EE-0E27-4B8E-933F-9AEBF27D97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68800" y="6453189"/>
            <a:ext cx="3860800" cy="28098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r>
              <a:rPr lang="de-DE" altLang="en-US" sz="1200"/>
              <a:t>Slide </a:t>
            </a:r>
            <a:fld id="{F6B4DA7B-1E8A-4552-99CC-3CF4AAB3592F}" type="slidenum">
              <a:rPr lang="de-DE" altLang="en-US" sz="1200" smtClean="0"/>
              <a:pPr algn="ctr" eaLnBrk="1" hangingPunct="1">
                <a:defRPr/>
              </a:pPr>
              <a:t>‹#›</a:t>
            </a:fld>
            <a:endParaRPr lang="de-DE" altLang="en-US" sz="1200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E6C2BA31-D13E-405E-AB29-47E880E5A2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00" y="6237288"/>
            <a:ext cx="635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4">
            <a:extLst>
              <a:ext uri="{FF2B5EF4-FFF2-40B4-BE49-F238E27FC236}">
                <a16:creationId xmlns:a16="http://schemas.microsoft.com/office/drawing/2014/main" id="{BFE30349-B32E-4627-BCDA-8EF5F674E2B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5BC429F4-45BD-490F-8C46-8DF03C0C320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32C3D2-31DF-4C00-BFEB-9BB47C50B931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7587195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10">
            <a:extLst>
              <a:ext uri="{FF2B5EF4-FFF2-40B4-BE49-F238E27FC236}">
                <a16:creationId xmlns:a16="http://schemas.microsoft.com/office/drawing/2014/main" id="{85A1968A-CBA7-4B78-BF40-3A13AC67F6C2}"/>
              </a:ext>
            </a:extLst>
          </p:cNvPr>
          <p:cNvGraphicFramePr>
            <a:graphicFrameLocks noGrp="1"/>
          </p:cNvGraphicFramePr>
          <p:nvPr/>
        </p:nvGraphicFramePr>
        <p:xfrm>
          <a:off x="334434" y="1111250"/>
          <a:ext cx="11523133" cy="517576"/>
        </p:xfrm>
        <a:graphic>
          <a:graphicData uri="http://schemas.openxmlformats.org/drawingml/2006/table">
            <a:tbl>
              <a:tblPr/>
              <a:tblGrid>
                <a:gridCol w="11523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7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121920" marR="121920" marT="45428" marB="45428" horzOverflow="overflow">
                    <a:lnL cap="flat">
                      <a:noFill/>
                    </a:lnL>
                    <a:lnR cap="flat">
                      <a:noFill/>
                    </a:lnR>
                    <a:lnT w="38100" cap="flat" cmpd="sng" algn="ctr">
                      <a:solidFill>
                        <a:srgbClr val="A50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" name="Picture 4">
            <a:extLst>
              <a:ext uri="{FF2B5EF4-FFF2-40B4-BE49-F238E27FC236}">
                <a16:creationId xmlns:a16="http://schemas.microsoft.com/office/drawing/2014/main" id="{C6A4A53C-42A9-42AC-B3BA-97E78A75B0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130175"/>
            <a:ext cx="4284133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8F8F9DD2-86D7-4079-B437-385280C4E3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00" y="122239"/>
            <a:ext cx="1151467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6F82B4C0-0580-43CF-9FEE-08F80549E2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385" y="177801"/>
            <a:ext cx="102023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>
            <a:extLst>
              <a:ext uri="{FF2B5EF4-FFF2-40B4-BE49-F238E27FC236}">
                <a16:creationId xmlns:a16="http://schemas.microsoft.com/office/drawing/2014/main" id="{4C5BF18D-6CB0-4874-864C-04D775FCA0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34" y="333376"/>
            <a:ext cx="231351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4">
            <a:extLst>
              <a:ext uri="{FF2B5EF4-FFF2-40B4-BE49-F238E27FC236}">
                <a16:creationId xmlns:a16="http://schemas.microsoft.com/office/drawing/2014/main" id="{4AB76BA0-20D4-49DB-A742-B1F7B11F62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9867" y="233363"/>
            <a:ext cx="164253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471623EE-0E27-4B8E-933F-9AEBF27D97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68800" y="6453189"/>
            <a:ext cx="3860800" cy="28098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r>
              <a:rPr lang="de-DE" altLang="en-US" sz="1200"/>
              <a:t>Slide </a:t>
            </a:r>
            <a:fld id="{F6B4DA7B-1E8A-4552-99CC-3CF4AAB3592F}" type="slidenum">
              <a:rPr lang="de-DE" altLang="en-US" sz="1200" smtClean="0"/>
              <a:pPr algn="ctr" eaLnBrk="1" hangingPunct="1">
                <a:defRPr/>
              </a:pPr>
              <a:t>‹#›</a:t>
            </a:fld>
            <a:endParaRPr lang="de-DE" altLang="en-US" sz="1200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E6C2BA31-D13E-405E-AB29-47E880E5A2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00" y="6237288"/>
            <a:ext cx="635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4">
            <a:extLst>
              <a:ext uri="{FF2B5EF4-FFF2-40B4-BE49-F238E27FC236}">
                <a16:creationId xmlns:a16="http://schemas.microsoft.com/office/drawing/2014/main" id="{BFE30349-B32E-4627-BCDA-8EF5F674E2B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5BC429F4-45BD-490F-8C46-8DF03C0C320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32C3D2-31DF-4C00-BFEB-9BB47C50B931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265373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ACEF4B-6553-4978-9920-C0F14B382118}"/>
              </a:ext>
            </a:extLst>
          </p:cNvPr>
          <p:cNvSpPr/>
          <p:nvPr userDrawn="1"/>
        </p:nvSpPr>
        <p:spPr>
          <a:xfrm>
            <a:off x="-4176" y="-9979"/>
            <a:ext cx="11895655" cy="7161531"/>
          </a:xfrm>
          <a:prstGeom prst="rect">
            <a:avLst/>
          </a:prstGeom>
          <a:solidFill>
            <a:srgbClr val="DDDDDD"/>
          </a:solidFill>
          <a:ln>
            <a:solidFill>
              <a:srgbClr val="DDD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5C726A9-0392-4148-BA73-22665CF4D610}"/>
              </a:ext>
            </a:extLst>
          </p:cNvPr>
          <p:cNvSpPr/>
          <p:nvPr userDrawn="1"/>
        </p:nvSpPr>
        <p:spPr>
          <a:xfrm>
            <a:off x="212113" y="1583228"/>
            <a:ext cx="67998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endParaRPr lang="hr-HR" sz="2800" b="1" dirty="0">
              <a:solidFill>
                <a:srgbClr val="036DB5"/>
              </a:solidFill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B58B8BA-CFAF-4BCD-A03D-C0EFCB2D5AAB}"/>
              </a:ext>
            </a:extLst>
          </p:cNvPr>
          <p:cNvSpPr/>
          <p:nvPr userDrawn="1"/>
        </p:nvSpPr>
        <p:spPr>
          <a:xfrm>
            <a:off x="8307475" y="-9981"/>
            <a:ext cx="3884526" cy="70245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D7B46A-3808-4B32-A35E-95C2B67A53B7}"/>
              </a:ext>
            </a:extLst>
          </p:cNvPr>
          <p:cNvSpPr/>
          <p:nvPr userDrawn="1"/>
        </p:nvSpPr>
        <p:spPr>
          <a:xfrm>
            <a:off x="8248113" y="4473896"/>
            <a:ext cx="351019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 defTabSz="914400" rtl="0" eaLnBrk="1" latinLnBrk="0" hangingPunct="1">
              <a:buNone/>
            </a:pPr>
            <a:endParaRPr lang="en-US" sz="2400" b="1" kern="1200" dirty="0">
              <a:solidFill>
                <a:srgbClr val="71AB7B"/>
              </a:solidFill>
              <a:latin typeface="+mj-lt"/>
              <a:ea typeface="+mn-ea"/>
              <a:cs typeface="+mn-cs"/>
            </a:endParaRPr>
          </a:p>
          <a:p>
            <a:pPr marL="0" indent="0" algn="r" defTabSz="914400" rtl="0" eaLnBrk="1" latinLnBrk="0" hangingPunct="1">
              <a:buNone/>
            </a:pPr>
            <a:r>
              <a:rPr lang="en-US" sz="2400" b="1" kern="1200" dirty="0">
                <a:solidFill>
                  <a:srgbClr val="036DB5"/>
                </a:solidFill>
                <a:latin typeface="+mj-lt"/>
                <a:ea typeface="+mn-ea"/>
                <a:cs typeface="+mn-cs"/>
              </a:rPr>
              <a:t> </a:t>
            </a:r>
          </a:p>
          <a:p>
            <a:pPr marL="0" indent="0" algn="r" defTabSz="914400" rtl="0" eaLnBrk="1" latinLnBrk="0" hangingPunct="1">
              <a:buNone/>
            </a:pPr>
            <a:r>
              <a:rPr lang="en-US" sz="2400" b="1" kern="1200" dirty="0">
                <a:solidFill>
                  <a:srgbClr val="036DB5"/>
                </a:solidFill>
                <a:latin typeface="+mj-lt"/>
                <a:ea typeface="+mn-ea"/>
                <a:cs typeface="+mn-cs"/>
              </a:rPr>
              <a:t>                  </a:t>
            </a:r>
          </a:p>
          <a:p>
            <a:pPr marL="0" indent="0" algn="r" defTabSz="914400" rtl="0" eaLnBrk="1" latinLnBrk="0" hangingPunct="1">
              <a:buNone/>
            </a:pPr>
            <a:r>
              <a:rPr lang="en-US" sz="2400" b="1" kern="1200" dirty="0">
                <a:solidFill>
                  <a:srgbClr val="71AB7B"/>
                </a:solidFill>
                <a:latin typeface="+mj-lt"/>
                <a:ea typeface="+mn-ea"/>
                <a:cs typeface="+mn-cs"/>
              </a:rPr>
              <a:t>International conference </a:t>
            </a:r>
          </a:p>
          <a:p>
            <a:pPr marL="0" indent="0" algn="r" defTabSz="914400" rtl="0" eaLnBrk="1" latinLnBrk="0" hangingPunct="1">
              <a:buNone/>
            </a:pPr>
            <a:r>
              <a:rPr lang="en-US" sz="2400" b="1" kern="1200" dirty="0">
                <a:solidFill>
                  <a:srgbClr val="71AB7B"/>
                </a:solidFill>
                <a:latin typeface="+mj-lt"/>
                <a:ea typeface="+mn-ea"/>
                <a:cs typeface="+mn-cs"/>
              </a:rPr>
              <a:t>in public procurement</a:t>
            </a:r>
          </a:p>
          <a:p>
            <a:pPr marL="0" indent="0" algn="r" defTabSz="914400" rtl="0" eaLnBrk="1" latinLnBrk="0" hangingPunct="1">
              <a:buNone/>
            </a:pPr>
            <a:endParaRPr lang="en-US" sz="2400" b="1" kern="1200" dirty="0">
              <a:solidFill>
                <a:srgbClr val="036DB5"/>
              </a:solidFill>
              <a:latin typeface="+mj-lt"/>
              <a:ea typeface="+mn-ea"/>
              <a:cs typeface="+mn-cs"/>
            </a:endParaRPr>
          </a:p>
          <a:p>
            <a:pPr marL="0" indent="0" algn="r" defTabSz="914400" rtl="0" eaLnBrk="1" latinLnBrk="0" hangingPunct="1">
              <a:buNone/>
            </a:pPr>
            <a:endParaRPr lang="en-US" sz="2400" b="1" kern="1200" dirty="0">
              <a:solidFill>
                <a:srgbClr val="036DB5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B90F3CE1-B4BF-4AB2-B38A-C89BB41719ED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364819" y="273067"/>
            <a:ext cx="7878358" cy="463113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endParaRPr lang="hr-HR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02A7CC7-152D-4A16-A400-4D9D00FD5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69"/>
          <a:stretch/>
        </p:blipFill>
        <p:spPr>
          <a:xfrm>
            <a:off x="8334054" y="993059"/>
            <a:ext cx="3426720" cy="3160503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DA31E97-877C-46F4-ACD1-13AF2A8CD0C8}"/>
              </a:ext>
            </a:extLst>
          </p:cNvPr>
          <p:cNvSpPr/>
          <p:nvPr userDrawn="1"/>
        </p:nvSpPr>
        <p:spPr>
          <a:xfrm>
            <a:off x="300522" y="257743"/>
            <a:ext cx="11457784" cy="4631137"/>
          </a:xfrm>
          <a:prstGeom prst="rect">
            <a:avLst/>
          </a:prstGeom>
          <a:noFill/>
          <a:ln>
            <a:solidFill>
              <a:srgbClr val="70AB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9814516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85AECF22-595C-4753-8957-27EDEEF02B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011"/>
            <a:ext cx="12189023" cy="67319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F5DF56-6C6F-4FA4-960A-61386CE2A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320" y="732294"/>
            <a:ext cx="10515600" cy="1122853"/>
          </a:xfrm>
        </p:spPr>
        <p:txBody>
          <a:bodyPr/>
          <a:lstStyle>
            <a:lvl1pPr>
              <a:defRPr>
                <a:solidFill>
                  <a:srgbClr val="71AB7B"/>
                </a:solidFill>
              </a:defRPr>
            </a:lvl1pPr>
          </a:lstStyle>
          <a:p>
            <a:r>
              <a:rPr lang="en-US" dirty="0"/>
              <a:t>Click to add</a:t>
            </a:r>
            <a:endParaRPr lang="hr-HR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50EB55-35EC-4AE4-AD09-8143716159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011" y="2269375"/>
            <a:ext cx="11371811" cy="3907588"/>
          </a:xfrm>
          <a:ln>
            <a:solidFill>
              <a:srgbClr val="71AB7B"/>
            </a:solidFill>
          </a:ln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hr-H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147BF68-D5F9-4751-9895-7058270DDB84}"/>
              </a:ext>
            </a:extLst>
          </p:cNvPr>
          <p:cNvSpPr txBox="1"/>
          <p:nvPr userDrawn="1"/>
        </p:nvSpPr>
        <p:spPr>
          <a:xfrm>
            <a:off x="2585257" y="6604084"/>
            <a:ext cx="755627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900" dirty="0">
                <a:solidFill>
                  <a:schemeClr val="bg1">
                    <a:lumMod val="65000"/>
                  </a:schemeClr>
                </a:solidFill>
              </a:rPr>
              <a:t>Kako se pripremiti za novo financijsko razdoblje 2021-2027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</a:rPr>
              <a:t> | </a:t>
            </a:r>
            <a:r>
              <a:rPr lang="hr-HR" sz="900" dirty="0">
                <a:solidFill>
                  <a:schemeClr val="bg1">
                    <a:lumMod val="65000"/>
                  </a:schemeClr>
                </a:solidFill>
              </a:rPr>
              <a:t>Učimo iz iskustava strateškog razvoja i provedbe EU projekata drugih zemalja članica EU</a:t>
            </a:r>
          </a:p>
          <a:p>
            <a:endParaRPr lang="hr-HR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7EFEB0-F2E9-47EB-8B59-4199926E57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749"/>
          <a:stretch/>
        </p:blipFill>
        <p:spPr>
          <a:xfrm>
            <a:off x="10971773" y="673942"/>
            <a:ext cx="1099397" cy="1181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4783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85AECF22-595C-4753-8957-27EDEEF02B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011"/>
            <a:ext cx="12189023" cy="67319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F5DF56-6C6F-4FA4-960A-61386CE2A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320" y="732294"/>
            <a:ext cx="10515600" cy="1122853"/>
          </a:xfrm>
        </p:spPr>
        <p:txBody>
          <a:bodyPr/>
          <a:lstStyle>
            <a:lvl1pPr>
              <a:defRPr>
                <a:solidFill>
                  <a:srgbClr val="71AB7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hr-HR" dirty="0"/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97FD0AD0-F2DA-4750-A333-67BD278A061D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92075" y="92075"/>
          <a:ext cx="444500" cy="2968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Packager Shell Object" showAsIcon="1" r:id="rId4" imgW="444960" imgH="297000" progId="Package">
                  <p:embed/>
                </p:oleObj>
              </mc:Choice>
              <mc:Fallback>
                <p:oleObj name="Packager Shell Object" showAsIcon="1" r:id="rId4" imgW="444960" imgH="297000" progId="Package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97FD0AD0-F2DA-4750-A333-67BD278A0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2075" y="92075"/>
                        <a:ext cx="444500" cy="2968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DCC1575-39AA-4DAA-B286-6B8862142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749"/>
          <a:stretch/>
        </p:blipFill>
        <p:spPr>
          <a:xfrm>
            <a:off x="10971773" y="673942"/>
            <a:ext cx="1099397" cy="118120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B716EAB-315C-43A7-9003-82831DC79627}"/>
              </a:ext>
            </a:extLst>
          </p:cNvPr>
          <p:cNvSpPr txBox="1"/>
          <p:nvPr userDrawn="1"/>
        </p:nvSpPr>
        <p:spPr>
          <a:xfrm>
            <a:off x="207817" y="6586073"/>
            <a:ext cx="11754197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Razmjena</a:t>
            </a:r>
            <a:r>
              <a:rPr lang="en-US" sz="11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kern="120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skustava</a:t>
            </a:r>
            <a:r>
              <a:rPr lang="en-US" sz="11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o </a:t>
            </a:r>
            <a:r>
              <a:rPr lang="en-US" sz="1100" kern="120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ključnim</a:t>
            </a:r>
            <a:r>
              <a:rPr lang="en-US" sz="11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kern="120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zazovima</a:t>
            </a:r>
            <a:r>
              <a:rPr lang="en-US" sz="11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u </a:t>
            </a:r>
            <a:r>
              <a:rPr lang="en-US" sz="1100" kern="120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praksi</a:t>
            </a:r>
            <a:r>
              <a:rPr lang="en-US" sz="11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kern="120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javne</a:t>
            </a:r>
            <a:r>
              <a:rPr lang="en-US" sz="11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kern="1200" dirty="0" err="1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nabave</a:t>
            </a:r>
            <a:endParaRPr lang="en-US" sz="1100" kern="120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  <a:p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550375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AE5EF-CAD0-4933-85F8-4FE46AC16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E3F5F8-D146-4E83-921D-FEF41E70D6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753DA4-9AE9-4E1D-BD30-59DCD1C4EC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0A6411-FDF3-4B3B-A916-4903D82BE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B5DC30-B31A-4E2F-A2F9-89E690884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3318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884B5-C999-4FA3-B783-66F11C2D0579}" type="datetimeFigureOut">
              <a:rPr lang="en-US" smtClean="0">
                <a:solidFill>
                  <a:srgbClr val="696464"/>
                </a:solidFill>
              </a:rPr>
              <a:pPr/>
              <a:t>10/23/2019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6A1BA-F535-4998-B122-5EEC82DBA69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3767" y="5538357"/>
            <a:ext cx="2657475" cy="1152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50047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884B5-C999-4FA3-B783-66F11C2D0579}" type="datetimeFigureOut">
              <a:rPr lang="en-US" smtClean="0">
                <a:solidFill>
                  <a:srgbClr val="696464"/>
                </a:solidFill>
              </a:rPr>
              <a:pPr/>
              <a:t>10/23/2019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6A1BA-F535-4998-B122-5EEC82DBA69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6085" y="5519883"/>
            <a:ext cx="2652105" cy="115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3152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1" y="1"/>
            <a:ext cx="12187767" cy="6850063"/>
            <a:chOff x="0" y="0"/>
            <a:chExt cx="5758" cy="4315"/>
          </a:xfrm>
        </p:grpSpPr>
        <p:grpSp>
          <p:nvGrpSpPr>
            <p:cNvPr id="5" name="Group 5"/>
            <p:cNvGrpSpPr>
              <a:grpSpLocks/>
            </p:cNvGrpSpPr>
            <p:nvPr userDrawn="1"/>
          </p:nvGrpSpPr>
          <p:grpSpPr bwMode="auto">
            <a:xfrm>
              <a:off x="1728" y="2230"/>
              <a:ext cx="4027" cy="2085"/>
              <a:chOff x="1728" y="2230"/>
              <a:chExt cx="4027" cy="2085"/>
            </a:xfrm>
          </p:grpSpPr>
          <p:sp>
            <p:nvSpPr>
              <p:cNvPr id="8" name="Freeform 6"/>
              <p:cNvSpPr>
                <a:spLocks/>
              </p:cNvSpPr>
              <p:nvPr/>
            </p:nvSpPr>
            <p:spPr bwMode="hidden">
              <a:xfrm>
                <a:off x="1728" y="2644"/>
                <a:ext cx="2882" cy="1671"/>
              </a:xfrm>
              <a:custGeom>
                <a:avLst/>
                <a:gdLst/>
                <a:ahLst/>
                <a:cxnLst>
                  <a:cxn ang="0">
                    <a:pos x="2740" y="528"/>
                  </a:cxn>
                  <a:cxn ang="0">
                    <a:pos x="2632" y="484"/>
                  </a:cxn>
                  <a:cxn ang="0">
                    <a:pos x="2480" y="424"/>
                  </a:cxn>
                  <a:cxn ang="0">
                    <a:pos x="2203" y="343"/>
                  </a:cxn>
                  <a:cxn ang="0">
                    <a:pos x="1970" y="277"/>
                  </a:cxn>
                  <a:cxn ang="0">
                    <a:pos x="1807" y="212"/>
                  </a:cxn>
                  <a:cxn ang="0">
                    <a:pos x="1693" y="152"/>
                  </a:cxn>
                  <a:cxn ang="0">
                    <a:pos x="1628" y="103"/>
                  </a:cxn>
                  <a:cxn ang="0">
                    <a:pos x="1590" y="60"/>
                  </a:cxn>
                  <a:cxn ang="0">
                    <a:pos x="1579" y="27"/>
                  </a:cxn>
                  <a:cxn ang="0">
                    <a:pos x="1585" y="0"/>
                  </a:cxn>
                  <a:cxn ang="0">
                    <a:pos x="1557" y="49"/>
                  </a:cxn>
                  <a:cxn ang="0">
                    <a:pos x="1568" y="98"/>
                  </a:cxn>
                  <a:cxn ang="0">
                    <a:pos x="1617" y="141"/>
                  </a:cxn>
                  <a:cxn ang="0">
                    <a:pos x="1688" y="185"/>
                  </a:cxn>
                  <a:cxn ang="0">
                    <a:pos x="1791" y="228"/>
                  </a:cxn>
                  <a:cxn ang="0">
                    <a:pos x="2040" y="310"/>
                  </a:cxn>
                  <a:cxn ang="0">
                    <a:pos x="2285" y="381"/>
                  </a:cxn>
                  <a:cxn ang="0">
                    <a:pos x="2464" y="435"/>
                  </a:cxn>
                  <a:cxn ang="0">
                    <a:pos x="2605" y="484"/>
                  </a:cxn>
                  <a:cxn ang="0">
                    <a:pos x="2708" y="528"/>
                  </a:cxn>
                  <a:cxn ang="0">
                    <a:pos x="2768" y="560"/>
                  </a:cxn>
                  <a:cxn ang="0">
                    <a:pos x="2795" y="593"/>
                  </a:cxn>
                  <a:cxn ang="0">
                    <a:pos x="2795" y="642"/>
                  </a:cxn>
                  <a:cxn ang="0">
                    <a:pos x="2762" y="691"/>
                  </a:cxn>
                  <a:cxn ang="0">
                    <a:pos x="2692" y="735"/>
                  </a:cxn>
                  <a:cxn ang="0">
                    <a:pos x="2589" y="778"/>
                  </a:cxn>
                  <a:cxn ang="0">
                    <a:pos x="2458" y="822"/>
                  </a:cxn>
                  <a:cxn ang="0">
                    <a:pos x="2301" y="865"/>
                  </a:cxn>
                  <a:cxn ang="0">
                    <a:pos x="2030" y="930"/>
                  </a:cxn>
                  <a:cxn ang="0">
                    <a:pos x="1606" y="1034"/>
                  </a:cxn>
                  <a:cxn ang="0">
                    <a:pos x="1145" y="1164"/>
                  </a:cxn>
                  <a:cxn ang="0">
                    <a:pos x="673" y="1328"/>
                  </a:cxn>
                  <a:cxn ang="0">
                    <a:pos x="217" y="1545"/>
                  </a:cxn>
                  <a:cxn ang="0">
                    <a:pos x="353" y="1671"/>
                  </a:cxn>
                  <a:cxn ang="0">
                    <a:pos x="754" y="1469"/>
                  </a:cxn>
                  <a:cxn ang="0">
                    <a:pos x="1145" y="1311"/>
                  </a:cxn>
                  <a:cxn ang="0">
                    <a:pos x="1519" y="1186"/>
                  </a:cxn>
                  <a:cxn ang="0">
                    <a:pos x="1861" y="1083"/>
                  </a:cxn>
                  <a:cxn ang="0">
                    <a:pos x="2165" y="1007"/>
                  </a:cxn>
                  <a:cxn ang="0">
                    <a:pos x="2426" y="947"/>
                  </a:cxn>
                  <a:cxn ang="0">
                    <a:pos x="2626" y="892"/>
                  </a:cxn>
                  <a:cxn ang="0">
                    <a:pos x="2762" y="838"/>
                  </a:cxn>
                  <a:cxn ang="0">
                    <a:pos x="2827" y="794"/>
                  </a:cxn>
                  <a:cxn ang="0">
                    <a:pos x="2865" y="745"/>
                  </a:cxn>
                  <a:cxn ang="0">
                    <a:pos x="2882" y="702"/>
                  </a:cxn>
                  <a:cxn ang="0">
                    <a:pos x="2854" y="620"/>
                  </a:cxn>
                  <a:cxn ang="0">
                    <a:pos x="2800" y="560"/>
                  </a:cxn>
                  <a:cxn ang="0">
                    <a:pos x="2773" y="544"/>
                  </a:cxn>
                </a:cxnLst>
                <a:rect l="0" t="0" r="r" b="b"/>
                <a:pathLst>
                  <a:path w="2882" h="1671">
                    <a:moveTo>
                      <a:pt x="2773" y="544"/>
                    </a:moveTo>
                    <a:lnTo>
                      <a:pt x="2740" y="528"/>
                    </a:lnTo>
                    <a:lnTo>
                      <a:pt x="2692" y="506"/>
                    </a:lnTo>
                    <a:lnTo>
                      <a:pt x="2632" y="484"/>
                    </a:lnTo>
                    <a:lnTo>
                      <a:pt x="2561" y="457"/>
                    </a:lnTo>
                    <a:lnTo>
                      <a:pt x="2480" y="424"/>
                    </a:lnTo>
                    <a:lnTo>
                      <a:pt x="2388" y="397"/>
                    </a:lnTo>
                    <a:lnTo>
                      <a:pt x="2203" y="343"/>
                    </a:lnTo>
                    <a:lnTo>
                      <a:pt x="2078" y="310"/>
                    </a:lnTo>
                    <a:lnTo>
                      <a:pt x="1970" y="277"/>
                    </a:lnTo>
                    <a:lnTo>
                      <a:pt x="1878" y="245"/>
                    </a:lnTo>
                    <a:lnTo>
                      <a:pt x="1807" y="212"/>
                    </a:lnTo>
                    <a:lnTo>
                      <a:pt x="1742" y="179"/>
                    </a:lnTo>
                    <a:lnTo>
                      <a:pt x="1693" y="152"/>
                    </a:lnTo>
                    <a:lnTo>
                      <a:pt x="1655" y="125"/>
                    </a:lnTo>
                    <a:lnTo>
                      <a:pt x="1628" y="103"/>
                    </a:lnTo>
                    <a:lnTo>
                      <a:pt x="1606" y="81"/>
                    </a:lnTo>
                    <a:lnTo>
                      <a:pt x="1590" y="60"/>
                    </a:lnTo>
                    <a:lnTo>
                      <a:pt x="1585" y="43"/>
                    </a:lnTo>
                    <a:lnTo>
                      <a:pt x="1579" y="27"/>
                    </a:lnTo>
                    <a:lnTo>
                      <a:pt x="1585" y="5"/>
                    </a:lnTo>
                    <a:lnTo>
                      <a:pt x="1585" y="0"/>
                    </a:lnTo>
                    <a:lnTo>
                      <a:pt x="1568" y="27"/>
                    </a:lnTo>
                    <a:lnTo>
                      <a:pt x="1557" y="49"/>
                    </a:lnTo>
                    <a:lnTo>
                      <a:pt x="1557" y="76"/>
                    </a:lnTo>
                    <a:lnTo>
                      <a:pt x="1568" y="98"/>
                    </a:lnTo>
                    <a:lnTo>
                      <a:pt x="1590" y="120"/>
                    </a:lnTo>
                    <a:lnTo>
                      <a:pt x="1617" y="141"/>
                    </a:lnTo>
                    <a:lnTo>
                      <a:pt x="1650" y="163"/>
                    </a:lnTo>
                    <a:lnTo>
                      <a:pt x="1688" y="185"/>
                    </a:lnTo>
                    <a:lnTo>
                      <a:pt x="1737" y="207"/>
                    </a:lnTo>
                    <a:lnTo>
                      <a:pt x="1791" y="228"/>
                    </a:lnTo>
                    <a:lnTo>
                      <a:pt x="1905" y="267"/>
                    </a:lnTo>
                    <a:lnTo>
                      <a:pt x="2040" y="310"/>
                    </a:lnTo>
                    <a:lnTo>
                      <a:pt x="2182" y="348"/>
                    </a:lnTo>
                    <a:lnTo>
                      <a:pt x="2285" y="381"/>
                    </a:lnTo>
                    <a:lnTo>
                      <a:pt x="2382" y="408"/>
                    </a:lnTo>
                    <a:lnTo>
                      <a:pt x="2464" y="435"/>
                    </a:lnTo>
                    <a:lnTo>
                      <a:pt x="2540" y="462"/>
                    </a:lnTo>
                    <a:lnTo>
                      <a:pt x="2605" y="484"/>
                    </a:lnTo>
                    <a:lnTo>
                      <a:pt x="2659" y="506"/>
                    </a:lnTo>
                    <a:lnTo>
                      <a:pt x="2708" y="528"/>
                    </a:lnTo>
                    <a:lnTo>
                      <a:pt x="2740" y="544"/>
                    </a:lnTo>
                    <a:lnTo>
                      <a:pt x="2768" y="560"/>
                    </a:lnTo>
                    <a:lnTo>
                      <a:pt x="2784" y="577"/>
                    </a:lnTo>
                    <a:lnTo>
                      <a:pt x="2795" y="593"/>
                    </a:lnTo>
                    <a:lnTo>
                      <a:pt x="2800" y="615"/>
                    </a:lnTo>
                    <a:lnTo>
                      <a:pt x="2795" y="642"/>
                    </a:lnTo>
                    <a:lnTo>
                      <a:pt x="2784" y="664"/>
                    </a:lnTo>
                    <a:lnTo>
                      <a:pt x="2762" y="691"/>
                    </a:lnTo>
                    <a:lnTo>
                      <a:pt x="2730" y="713"/>
                    </a:lnTo>
                    <a:lnTo>
                      <a:pt x="2692" y="735"/>
                    </a:lnTo>
                    <a:lnTo>
                      <a:pt x="2643" y="756"/>
                    </a:lnTo>
                    <a:lnTo>
                      <a:pt x="2589" y="778"/>
                    </a:lnTo>
                    <a:lnTo>
                      <a:pt x="2529" y="800"/>
                    </a:lnTo>
                    <a:lnTo>
                      <a:pt x="2458" y="822"/>
                    </a:lnTo>
                    <a:lnTo>
                      <a:pt x="2382" y="843"/>
                    </a:lnTo>
                    <a:lnTo>
                      <a:pt x="2301" y="865"/>
                    </a:lnTo>
                    <a:lnTo>
                      <a:pt x="2214" y="887"/>
                    </a:lnTo>
                    <a:lnTo>
                      <a:pt x="2030" y="930"/>
                    </a:lnTo>
                    <a:lnTo>
                      <a:pt x="1823" y="979"/>
                    </a:lnTo>
                    <a:lnTo>
                      <a:pt x="1606" y="1034"/>
                    </a:lnTo>
                    <a:lnTo>
                      <a:pt x="1378" y="1094"/>
                    </a:lnTo>
                    <a:lnTo>
                      <a:pt x="1145" y="1164"/>
                    </a:lnTo>
                    <a:lnTo>
                      <a:pt x="912" y="1241"/>
                    </a:lnTo>
                    <a:lnTo>
                      <a:pt x="673" y="1328"/>
                    </a:lnTo>
                    <a:lnTo>
                      <a:pt x="440" y="1431"/>
                    </a:lnTo>
                    <a:lnTo>
                      <a:pt x="217" y="1545"/>
                    </a:lnTo>
                    <a:lnTo>
                      <a:pt x="0" y="1671"/>
                    </a:lnTo>
                    <a:lnTo>
                      <a:pt x="353" y="1671"/>
                    </a:lnTo>
                    <a:lnTo>
                      <a:pt x="554" y="1567"/>
                    </a:lnTo>
                    <a:lnTo>
                      <a:pt x="754" y="1469"/>
                    </a:lnTo>
                    <a:lnTo>
                      <a:pt x="955" y="1388"/>
                    </a:lnTo>
                    <a:lnTo>
                      <a:pt x="1145" y="1311"/>
                    </a:lnTo>
                    <a:lnTo>
                      <a:pt x="1335" y="1241"/>
                    </a:lnTo>
                    <a:lnTo>
                      <a:pt x="1519" y="1186"/>
                    </a:lnTo>
                    <a:lnTo>
                      <a:pt x="1693" y="1132"/>
                    </a:lnTo>
                    <a:lnTo>
                      <a:pt x="1861" y="1083"/>
                    </a:lnTo>
                    <a:lnTo>
                      <a:pt x="2019" y="1045"/>
                    </a:lnTo>
                    <a:lnTo>
                      <a:pt x="2165" y="1007"/>
                    </a:lnTo>
                    <a:lnTo>
                      <a:pt x="2301" y="974"/>
                    </a:lnTo>
                    <a:lnTo>
                      <a:pt x="2426" y="947"/>
                    </a:lnTo>
                    <a:lnTo>
                      <a:pt x="2534" y="914"/>
                    </a:lnTo>
                    <a:lnTo>
                      <a:pt x="2626" y="892"/>
                    </a:lnTo>
                    <a:lnTo>
                      <a:pt x="2702" y="865"/>
                    </a:lnTo>
                    <a:lnTo>
                      <a:pt x="2762" y="838"/>
                    </a:lnTo>
                    <a:lnTo>
                      <a:pt x="2800" y="816"/>
                    </a:lnTo>
                    <a:lnTo>
                      <a:pt x="2827" y="794"/>
                    </a:lnTo>
                    <a:lnTo>
                      <a:pt x="2849" y="767"/>
                    </a:lnTo>
                    <a:lnTo>
                      <a:pt x="2865" y="745"/>
                    </a:lnTo>
                    <a:lnTo>
                      <a:pt x="2876" y="724"/>
                    </a:lnTo>
                    <a:lnTo>
                      <a:pt x="2882" y="702"/>
                    </a:lnTo>
                    <a:lnTo>
                      <a:pt x="2876" y="658"/>
                    </a:lnTo>
                    <a:lnTo>
                      <a:pt x="2854" y="620"/>
                    </a:lnTo>
                    <a:lnTo>
                      <a:pt x="2833" y="588"/>
                    </a:lnTo>
                    <a:lnTo>
                      <a:pt x="2800" y="560"/>
                    </a:lnTo>
                    <a:lnTo>
                      <a:pt x="2773" y="544"/>
                    </a:lnTo>
                    <a:lnTo>
                      <a:pt x="2773" y="544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Freeform 7"/>
              <p:cNvSpPr>
                <a:spLocks/>
              </p:cNvSpPr>
              <p:nvPr/>
            </p:nvSpPr>
            <p:spPr bwMode="hidden">
              <a:xfrm>
                <a:off x="4170" y="2671"/>
                <a:ext cx="1259" cy="811"/>
              </a:xfrm>
              <a:custGeom>
                <a:avLst/>
                <a:gdLst/>
                <a:ahLst/>
                <a:cxnLst>
                  <a:cxn ang="0">
                    <a:pos x="1259" y="615"/>
                  </a:cxn>
                  <a:cxn ang="0">
                    <a:pos x="1248" y="588"/>
                  </a:cxn>
                  <a:cxn ang="0">
                    <a:pos x="1237" y="566"/>
                  </a:cxn>
                  <a:cxn ang="0">
                    <a:pos x="1216" y="539"/>
                  </a:cxn>
                  <a:cxn ang="0">
                    <a:pos x="1188" y="517"/>
                  </a:cxn>
                  <a:cxn ang="0">
                    <a:pos x="1123" y="479"/>
                  </a:cxn>
                  <a:cxn ang="0">
                    <a:pos x="1042" y="441"/>
                  </a:cxn>
                  <a:cxn ang="0">
                    <a:pos x="944" y="408"/>
                  </a:cxn>
                  <a:cxn ang="0">
                    <a:pos x="841" y="381"/>
                  </a:cxn>
                  <a:cxn ang="0">
                    <a:pos x="727" y="348"/>
                  </a:cxn>
                  <a:cxn ang="0">
                    <a:pos x="613" y="321"/>
                  </a:cxn>
                  <a:cxn ang="0">
                    <a:pos x="499" y="294"/>
                  </a:cxn>
                  <a:cxn ang="0">
                    <a:pos x="391" y="261"/>
                  </a:cxn>
                  <a:cxn ang="0">
                    <a:pos x="288" y="229"/>
                  </a:cxn>
                  <a:cxn ang="0">
                    <a:pos x="195" y="196"/>
                  </a:cxn>
                  <a:cxn ang="0">
                    <a:pos x="119" y="152"/>
                  </a:cxn>
                  <a:cxn ang="0">
                    <a:pos x="54" y="109"/>
                  </a:cxn>
                  <a:cxn ang="0">
                    <a:pos x="33" y="87"/>
                  </a:cxn>
                  <a:cxn ang="0">
                    <a:pos x="16" y="60"/>
                  </a:cxn>
                  <a:cxn ang="0">
                    <a:pos x="5" y="33"/>
                  </a:cxn>
                  <a:cxn ang="0">
                    <a:pos x="0" y="0"/>
                  </a:cxn>
                  <a:cxn ang="0">
                    <a:pos x="0" y="6"/>
                  </a:cxn>
                  <a:cxn ang="0">
                    <a:pos x="0" y="11"/>
                  </a:cxn>
                  <a:cxn ang="0">
                    <a:pos x="0" y="38"/>
                  </a:cxn>
                  <a:cxn ang="0">
                    <a:pos x="5" y="60"/>
                  </a:cxn>
                  <a:cxn ang="0">
                    <a:pos x="16" y="87"/>
                  </a:cxn>
                  <a:cxn ang="0">
                    <a:pos x="33" y="114"/>
                  </a:cxn>
                  <a:cxn ang="0">
                    <a:pos x="54" y="142"/>
                  </a:cxn>
                  <a:cxn ang="0">
                    <a:pos x="87" y="174"/>
                  </a:cxn>
                  <a:cxn ang="0">
                    <a:pos x="125" y="207"/>
                  </a:cxn>
                  <a:cxn ang="0">
                    <a:pos x="179" y="240"/>
                  </a:cxn>
                  <a:cxn ang="0">
                    <a:pos x="244" y="278"/>
                  </a:cxn>
                  <a:cxn ang="0">
                    <a:pos x="326" y="310"/>
                  </a:cxn>
                  <a:cxn ang="0">
                    <a:pos x="418" y="348"/>
                  </a:cxn>
                  <a:cxn ang="0">
                    <a:pos x="526" y="381"/>
                  </a:cxn>
                  <a:cxn ang="0">
                    <a:pos x="657" y="414"/>
                  </a:cxn>
                  <a:cxn ang="0">
                    <a:pos x="749" y="435"/>
                  </a:cxn>
                  <a:cxn ang="0">
                    <a:pos x="830" y="463"/>
                  </a:cxn>
                  <a:cxn ang="0">
                    <a:pos x="901" y="490"/>
                  </a:cxn>
                  <a:cxn ang="0">
                    <a:pos x="966" y="512"/>
                  </a:cxn>
                  <a:cxn ang="0">
                    <a:pos x="1015" y="539"/>
                  </a:cxn>
                  <a:cxn ang="0">
                    <a:pos x="1053" y="566"/>
                  </a:cxn>
                  <a:cxn ang="0">
                    <a:pos x="1080" y="593"/>
                  </a:cxn>
                  <a:cxn ang="0">
                    <a:pos x="1102" y="620"/>
                  </a:cxn>
                  <a:cxn ang="0">
                    <a:pos x="1112" y="648"/>
                  </a:cxn>
                  <a:cxn ang="0">
                    <a:pos x="1118" y="675"/>
                  </a:cxn>
                  <a:cxn ang="0">
                    <a:pos x="1112" y="697"/>
                  </a:cxn>
                  <a:cxn ang="0">
                    <a:pos x="1096" y="724"/>
                  </a:cxn>
                  <a:cxn ang="0">
                    <a:pos x="1080" y="746"/>
                  </a:cxn>
                  <a:cxn ang="0">
                    <a:pos x="1053" y="767"/>
                  </a:cxn>
                  <a:cxn ang="0">
                    <a:pos x="1015" y="789"/>
                  </a:cxn>
                  <a:cxn ang="0">
                    <a:pos x="977" y="811"/>
                  </a:cxn>
                  <a:cxn ang="0">
                    <a:pos x="1047" y="789"/>
                  </a:cxn>
                  <a:cxn ang="0">
                    <a:pos x="1107" y="767"/>
                  </a:cxn>
                  <a:cxn ang="0">
                    <a:pos x="1156" y="746"/>
                  </a:cxn>
                  <a:cxn ang="0">
                    <a:pos x="1199" y="724"/>
                  </a:cxn>
                  <a:cxn ang="0">
                    <a:pos x="1226" y="702"/>
                  </a:cxn>
                  <a:cxn ang="0">
                    <a:pos x="1248" y="675"/>
                  </a:cxn>
                  <a:cxn ang="0">
                    <a:pos x="1259" y="648"/>
                  </a:cxn>
                  <a:cxn ang="0">
                    <a:pos x="1259" y="615"/>
                  </a:cxn>
                  <a:cxn ang="0">
                    <a:pos x="1259" y="615"/>
                  </a:cxn>
                </a:cxnLst>
                <a:rect l="0" t="0" r="r" b="b"/>
                <a:pathLst>
                  <a:path w="1259" h="811">
                    <a:moveTo>
                      <a:pt x="1259" y="615"/>
                    </a:moveTo>
                    <a:lnTo>
                      <a:pt x="1248" y="588"/>
                    </a:lnTo>
                    <a:lnTo>
                      <a:pt x="1237" y="566"/>
                    </a:lnTo>
                    <a:lnTo>
                      <a:pt x="1216" y="539"/>
                    </a:lnTo>
                    <a:lnTo>
                      <a:pt x="1188" y="517"/>
                    </a:lnTo>
                    <a:lnTo>
                      <a:pt x="1123" y="479"/>
                    </a:lnTo>
                    <a:lnTo>
                      <a:pt x="1042" y="441"/>
                    </a:lnTo>
                    <a:lnTo>
                      <a:pt x="944" y="408"/>
                    </a:lnTo>
                    <a:lnTo>
                      <a:pt x="841" y="381"/>
                    </a:lnTo>
                    <a:lnTo>
                      <a:pt x="727" y="348"/>
                    </a:lnTo>
                    <a:lnTo>
                      <a:pt x="613" y="321"/>
                    </a:lnTo>
                    <a:lnTo>
                      <a:pt x="499" y="294"/>
                    </a:lnTo>
                    <a:lnTo>
                      <a:pt x="391" y="261"/>
                    </a:lnTo>
                    <a:lnTo>
                      <a:pt x="288" y="229"/>
                    </a:lnTo>
                    <a:lnTo>
                      <a:pt x="195" y="196"/>
                    </a:lnTo>
                    <a:lnTo>
                      <a:pt x="119" y="152"/>
                    </a:lnTo>
                    <a:lnTo>
                      <a:pt x="54" y="109"/>
                    </a:lnTo>
                    <a:lnTo>
                      <a:pt x="33" y="87"/>
                    </a:lnTo>
                    <a:lnTo>
                      <a:pt x="16" y="60"/>
                    </a:lnTo>
                    <a:lnTo>
                      <a:pt x="5" y="3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38"/>
                    </a:lnTo>
                    <a:lnTo>
                      <a:pt x="5" y="60"/>
                    </a:lnTo>
                    <a:lnTo>
                      <a:pt x="16" y="87"/>
                    </a:lnTo>
                    <a:lnTo>
                      <a:pt x="33" y="114"/>
                    </a:lnTo>
                    <a:lnTo>
                      <a:pt x="54" y="142"/>
                    </a:lnTo>
                    <a:lnTo>
                      <a:pt x="87" y="174"/>
                    </a:lnTo>
                    <a:lnTo>
                      <a:pt x="125" y="207"/>
                    </a:lnTo>
                    <a:lnTo>
                      <a:pt x="179" y="240"/>
                    </a:lnTo>
                    <a:lnTo>
                      <a:pt x="244" y="278"/>
                    </a:lnTo>
                    <a:lnTo>
                      <a:pt x="326" y="310"/>
                    </a:lnTo>
                    <a:lnTo>
                      <a:pt x="418" y="348"/>
                    </a:lnTo>
                    <a:lnTo>
                      <a:pt x="526" y="381"/>
                    </a:lnTo>
                    <a:lnTo>
                      <a:pt x="657" y="414"/>
                    </a:lnTo>
                    <a:lnTo>
                      <a:pt x="749" y="435"/>
                    </a:lnTo>
                    <a:lnTo>
                      <a:pt x="830" y="463"/>
                    </a:lnTo>
                    <a:lnTo>
                      <a:pt x="901" y="490"/>
                    </a:lnTo>
                    <a:lnTo>
                      <a:pt x="966" y="512"/>
                    </a:lnTo>
                    <a:lnTo>
                      <a:pt x="1015" y="539"/>
                    </a:lnTo>
                    <a:lnTo>
                      <a:pt x="1053" y="566"/>
                    </a:lnTo>
                    <a:lnTo>
                      <a:pt x="1080" y="593"/>
                    </a:lnTo>
                    <a:lnTo>
                      <a:pt x="1102" y="620"/>
                    </a:lnTo>
                    <a:lnTo>
                      <a:pt x="1112" y="648"/>
                    </a:lnTo>
                    <a:lnTo>
                      <a:pt x="1118" y="675"/>
                    </a:lnTo>
                    <a:lnTo>
                      <a:pt x="1112" y="697"/>
                    </a:lnTo>
                    <a:lnTo>
                      <a:pt x="1096" y="724"/>
                    </a:lnTo>
                    <a:lnTo>
                      <a:pt x="1080" y="746"/>
                    </a:lnTo>
                    <a:lnTo>
                      <a:pt x="1053" y="767"/>
                    </a:lnTo>
                    <a:lnTo>
                      <a:pt x="1015" y="789"/>
                    </a:lnTo>
                    <a:lnTo>
                      <a:pt x="977" y="811"/>
                    </a:lnTo>
                    <a:lnTo>
                      <a:pt x="1047" y="789"/>
                    </a:lnTo>
                    <a:lnTo>
                      <a:pt x="1107" y="767"/>
                    </a:lnTo>
                    <a:lnTo>
                      <a:pt x="1156" y="746"/>
                    </a:lnTo>
                    <a:lnTo>
                      <a:pt x="1199" y="724"/>
                    </a:lnTo>
                    <a:lnTo>
                      <a:pt x="1226" y="702"/>
                    </a:lnTo>
                    <a:lnTo>
                      <a:pt x="1248" y="675"/>
                    </a:lnTo>
                    <a:lnTo>
                      <a:pt x="1259" y="648"/>
                    </a:lnTo>
                    <a:lnTo>
                      <a:pt x="1259" y="615"/>
                    </a:lnTo>
                    <a:lnTo>
                      <a:pt x="1259" y="61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Freeform 8"/>
              <p:cNvSpPr>
                <a:spLocks/>
              </p:cNvSpPr>
              <p:nvPr/>
            </p:nvSpPr>
            <p:spPr bwMode="hidden">
              <a:xfrm>
                <a:off x="2900" y="3346"/>
                <a:ext cx="2849" cy="969"/>
              </a:xfrm>
              <a:custGeom>
                <a:avLst/>
                <a:gdLst/>
                <a:ahLst/>
                <a:cxnLst>
                  <a:cxn ang="0">
                    <a:pos x="92" y="958"/>
                  </a:cxn>
                  <a:cxn ang="0">
                    <a:pos x="0" y="969"/>
                  </a:cxn>
                  <a:cxn ang="0">
                    <a:pos x="391" y="969"/>
                  </a:cxn>
                  <a:cxn ang="0">
                    <a:pos x="434" y="947"/>
                  </a:cxn>
                  <a:cxn ang="0">
                    <a:pos x="483" y="914"/>
                  </a:cxn>
                  <a:cxn ang="0">
                    <a:pos x="554" y="876"/>
                  </a:cxn>
                  <a:cxn ang="0">
                    <a:pos x="635" y="838"/>
                  </a:cxn>
                  <a:cxn ang="0">
                    <a:pos x="727" y="794"/>
                  </a:cxn>
                  <a:cxn ang="0">
                    <a:pos x="836" y="745"/>
                  </a:cxn>
                  <a:cxn ang="0">
                    <a:pos x="961" y="696"/>
                  </a:cxn>
                  <a:cxn ang="0">
                    <a:pos x="1102" y="642"/>
                  </a:cxn>
                  <a:cxn ang="0">
                    <a:pos x="1259" y="582"/>
                  </a:cxn>
                  <a:cxn ang="0">
                    <a:pos x="1433" y="522"/>
                  </a:cxn>
                  <a:cxn ang="0">
                    <a:pos x="1623" y="462"/>
                  </a:cxn>
                  <a:cxn ang="0">
                    <a:pos x="1829" y="403"/>
                  </a:cxn>
                  <a:cxn ang="0">
                    <a:pos x="2057" y="343"/>
                  </a:cxn>
                  <a:cxn ang="0">
                    <a:pos x="2301" y="283"/>
                  </a:cxn>
                  <a:cxn ang="0">
                    <a:pos x="2567" y="223"/>
                  </a:cxn>
                  <a:cxn ang="0">
                    <a:pos x="2849" y="163"/>
                  </a:cxn>
                  <a:cxn ang="0">
                    <a:pos x="2849" y="0"/>
                  </a:cxn>
                  <a:cxn ang="0">
                    <a:pos x="2817" y="16"/>
                  </a:cxn>
                  <a:cxn ang="0">
                    <a:pos x="2773" y="33"/>
                  </a:cxn>
                  <a:cxn ang="0">
                    <a:pos x="2719" y="54"/>
                  </a:cxn>
                  <a:cxn ang="0">
                    <a:pos x="2648" y="76"/>
                  </a:cxn>
                  <a:cxn ang="0">
                    <a:pos x="2572" y="98"/>
                  </a:cxn>
                  <a:cxn ang="0">
                    <a:pos x="2491" y="120"/>
                  </a:cxn>
                  <a:cxn ang="0">
                    <a:pos x="2399" y="147"/>
                  </a:cxn>
                  <a:cxn ang="0">
                    <a:pos x="2301" y="169"/>
                  </a:cxn>
                  <a:cxn ang="0">
                    <a:pos x="2095" y="223"/>
                  </a:cxn>
                  <a:cxn ang="0">
                    <a:pos x="1889" y="277"/>
                  </a:cxn>
                  <a:cxn ang="0">
                    <a:pos x="1688" y="326"/>
                  </a:cxn>
                  <a:cxn ang="0">
                    <a:pos x="1590" y="354"/>
                  </a:cxn>
                  <a:cxn ang="0">
                    <a:pos x="1503" y="381"/>
                  </a:cxn>
                  <a:cxn ang="0">
                    <a:pos x="1107" y="506"/>
                  </a:cxn>
                  <a:cxn ang="0">
                    <a:pos x="912" y="577"/>
                  </a:cxn>
                  <a:cxn ang="0">
                    <a:pos x="727" y="647"/>
                  </a:cxn>
                  <a:cxn ang="0">
                    <a:pos x="548" y="718"/>
                  </a:cxn>
                  <a:cxn ang="0">
                    <a:pos x="380" y="794"/>
                  </a:cxn>
                  <a:cxn ang="0">
                    <a:pos x="228" y="876"/>
                  </a:cxn>
                  <a:cxn ang="0">
                    <a:pos x="92" y="958"/>
                  </a:cxn>
                  <a:cxn ang="0">
                    <a:pos x="92" y="958"/>
                  </a:cxn>
                </a:cxnLst>
                <a:rect l="0" t="0" r="r" b="b"/>
                <a:pathLst>
                  <a:path w="2849" h="969">
                    <a:moveTo>
                      <a:pt x="92" y="958"/>
                    </a:moveTo>
                    <a:lnTo>
                      <a:pt x="0" y="969"/>
                    </a:lnTo>
                    <a:lnTo>
                      <a:pt x="391" y="969"/>
                    </a:lnTo>
                    <a:lnTo>
                      <a:pt x="434" y="947"/>
                    </a:lnTo>
                    <a:lnTo>
                      <a:pt x="483" y="914"/>
                    </a:lnTo>
                    <a:lnTo>
                      <a:pt x="554" y="876"/>
                    </a:lnTo>
                    <a:lnTo>
                      <a:pt x="635" y="838"/>
                    </a:lnTo>
                    <a:lnTo>
                      <a:pt x="727" y="794"/>
                    </a:lnTo>
                    <a:lnTo>
                      <a:pt x="836" y="745"/>
                    </a:lnTo>
                    <a:lnTo>
                      <a:pt x="961" y="696"/>
                    </a:lnTo>
                    <a:lnTo>
                      <a:pt x="1102" y="642"/>
                    </a:lnTo>
                    <a:lnTo>
                      <a:pt x="1259" y="582"/>
                    </a:lnTo>
                    <a:lnTo>
                      <a:pt x="1433" y="522"/>
                    </a:lnTo>
                    <a:lnTo>
                      <a:pt x="1623" y="462"/>
                    </a:lnTo>
                    <a:lnTo>
                      <a:pt x="1829" y="403"/>
                    </a:lnTo>
                    <a:lnTo>
                      <a:pt x="2057" y="343"/>
                    </a:lnTo>
                    <a:lnTo>
                      <a:pt x="2301" y="283"/>
                    </a:lnTo>
                    <a:lnTo>
                      <a:pt x="2567" y="223"/>
                    </a:lnTo>
                    <a:lnTo>
                      <a:pt x="2849" y="163"/>
                    </a:lnTo>
                    <a:lnTo>
                      <a:pt x="2849" y="0"/>
                    </a:lnTo>
                    <a:lnTo>
                      <a:pt x="2817" y="16"/>
                    </a:lnTo>
                    <a:lnTo>
                      <a:pt x="2773" y="33"/>
                    </a:lnTo>
                    <a:lnTo>
                      <a:pt x="2719" y="54"/>
                    </a:lnTo>
                    <a:lnTo>
                      <a:pt x="2648" y="76"/>
                    </a:lnTo>
                    <a:lnTo>
                      <a:pt x="2572" y="98"/>
                    </a:lnTo>
                    <a:lnTo>
                      <a:pt x="2491" y="120"/>
                    </a:lnTo>
                    <a:lnTo>
                      <a:pt x="2399" y="147"/>
                    </a:lnTo>
                    <a:lnTo>
                      <a:pt x="2301" y="169"/>
                    </a:lnTo>
                    <a:lnTo>
                      <a:pt x="2095" y="223"/>
                    </a:lnTo>
                    <a:lnTo>
                      <a:pt x="1889" y="277"/>
                    </a:lnTo>
                    <a:lnTo>
                      <a:pt x="1688" y="326"/>
                    </a:lnTo>
                    <a:lnTo>
                      <a:pt x="1590" y="354"/>
                    </a:lnTo>
                    <a:lnTo>
                      <a:pt x="1503" y="381"/>
                    </a:lnTo>
                    <a:lnTo>
                      <a:pt x="1107" y="506"/>
                    </a:lnTo>
                    <a:lnTo>
                      <a:pt x="912" y="577"/>
                    </a:lnTo>
                    <a:lnTo>
                      <a:pt x="727" y="647"/>
                    </a:lnTo>
                    <a:lnTo>
                      <a:pt x="548" y="718"/>
                    </a:lnTo>
                    <a:lnTo>
                      <a:pt x="380" y="794"/>
                    </a:lnTo>
                    <a:lnTo>
                      <a:pt x="228" y="876"/>
                    </a:lnTo>
                    <a:lnTo>
                      <a:pt x="92" y="958"/>
                    </a:lnTo>
                    <a:lnTo>
                      <a:pt x="92" y="958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1961"/>
                      <a:invGamma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Freeform 9"/>
              <p:cNvSpPr>
                <a:spLocks/>
              </p:cNvSpPr>
              <p:nvPr/>
            </p:nvSpPr>
            <p:spPr bwMode="hidden">
              <a:xfrm>
                <a:off x="2748" y="2230"/>
                <a:ext cx="3007" cy="2085"/>
              </a:xfrm>
              <a:custGeom>
                <a:avLst/>
                <a:gdLst/>
                <a:ahLst/>
                <a:cxnLst>
                  <a:cxn ang="0">
                    <a:pos x="1433" y="474"/>
                  </a:cxn>
                  <a:cxn ang="0">
                    <a:pos x="1460" y="528"/>
                  </a:cxn>
                  <a:cxn ang="0">
                    <a:pos x="1541" y="593"/>
                  </a:cxn>
                  <a:cxn ang="0">
                    <a:pos x="1715" y="670"/>
                  </a:cxn>
                  <a:cxn ang="0">
                    <a:pos x="1927" y="735"/>
                  </a:cxn>
                  <a:cxn ang="0">
                    <a:pos x="2155" y="789"/>
                  </a:cxn>
                  <a:cxn ang="0">
                    <a:pos x="2372" y="849"/>
                  </a:cxn>
                  <a:cxn ang="0">
                    <a:pos x="2551" y="920"/>
                  </a:cxn>
                  <a:cxn ang="0">
                    <a:pos x="2638" y="980"/>
                  </a:cxn>
                  <a:cxn ang="0">
                    <a:pos x="2676" y="1029"/>
                  </a:cxn>
                  <a:cxn ang="0">
                    <a:pos x="2681" y="1083"/>
                  </a:cxn>
                  <a:cxn ang="0">
                    <a:pos x="2665" y="1127"/>
                  </a:cxn>
                  <a:cxn ang="0">
                    <a:pos x="2616" y="1170"/>
                  </a:cxn>
                  <a:cxn ang="0">
                    <a:pos x="2545" y="1208"/>
                  </a:cxn>
                  <a:cxn ang="0">
                    <a:pos x="2448" y="1241"/>
                  </a:cxn>
                  <a:cxn ang="0">
                    <a:pos x="2328" y="1274"/>
                  </a:cxn>
                  <a:cxn ang="0">
                    <a:pos x="2106" y="1328"/>
                  </a:cxn>
                  <a:cxn ang="0">
                    <a:pos x="1742" y="1421"/>
                  </a:cxn>
                  <a:cxn ang="0">
                    <a:pos x="1308" y="1540"/>
                  </a:cxn>
                  <a:cxn ang="0">
                    <a:pos x="820" y="1709"/>
                  </a:cxn>
                  <a:cxn ang="0">
                    <a:pos x="282" y="1943"/>
                  </a:cxn>
                  <a:cxn ang="0">
                    <a:pos x="152" y="2085"/>
                  </a:cxn>
                  <a:cxn ang="0">
                    <a:pos x="386" y="1992"/>
                  </a:cxn>
                  <a:cxn ang="0">
                    <a:pos x="700" y="1834"/>
                  </a:cxn>
                  <a:cxn ang="0">
                    <a:pos x="1064" y="1693"/>
                  </a:cxn>
                  <a:cxn ang="0">
                    <a:pos x="1661" y="1497"/>
                  </a:cxn>
                  <a:cxn ang="0">
                    <a:pos x="1845" y="1442"/>
                  </a:cxn>
                  <a:cxn ang="0">
                    <a:pos x="2252" y="1339"/>
                  </a:cxn>
                  <a:cxn ang="0">
                    <a:pos x="2551" y="1263"/>
                  </a:cxn>
                  <a:cxn ang="0">
                    <a:pos x="2730" y="1214"/>
                  </a:cxn>
                  <a:cxn ang="0">
                    <a:pos x="2876" y="1170"/>
                  </a:cxn>
                  <a:cxn ang="0">
                    <a:pos x="2974" y="1132"/>
                  </a:cxn>
                  <a:cxn ang="0">
                    <a:pos x="3007" y="871"/>
                  </a:cxn>
                  <a:cxn ang="0">
                    <a:pos x="2860" y="844"/>
                  </a:cxn>
                  <a:cxn ang="0">
                    <a:pos x="2670" y="806"/>
                  </a:cxn>
                  <a:cxn ang="0">
                    <a:pos x="2458" y="757"/>
                  </a:cxn>
                  <a:cxn ang="0">
                    <a:pos x="2138" y="670"/>
                  </a:cxn>
                  <a:cxn ang="0">
                    <a:pos x="1959" y="604"/>
                  </a:cxn>
                  <a:cxn ang="0">
                    <a:pos x="1824" y="534"/>
                  </a:cxn>
                  <a:cxn ang="0">
                    <a:pos x="1769" y="474"/>
                  </a:cxn>
                  <a:cxn ang="0">
                    <a:pos x="1753" y="436"/>
                  </a:cxn>
                  <a:cxn ang="0">
                    <a:pos x="1780" y="381"/>
                  </a:cxn>
                  <a:cxn ang="0">
                    <a:pos x="1862" y="316"/>
                  </a:cxn>
                  <a:cxn ang="0">
                    <a:pos x="1986" y="267"/>
                  </a:cxn>
                  <a:cxn ang="0">
                    <a:pos x="2149" y="229"/>
                  </a:cxn>
                  <a:cxn ang="0">
                    <a:pos x="2431" y="180"/>
                  </a:cxn>
                  <a:cxn ang="0">
                    <a:pos x="2827" y="125"/>
                  </a:cxn>
                  <a:cxn ang="0">
                    <a:pos x="3007" y="87"/>
                  </a:cxn>
                  <a:cxn ang="0">
                    <a:pos x="2909" y="22"/>
                  </a:cxn>
                  <a:cxn ang="0">
                    <a:pos x="2676" y="66"/>
                  </a:cxn>
                  <a:cxn ang="0">
                    <a:pos x="2285" y="120"/>
                  </a:cxn>
                  <a:cxn ang="0">
                    <a:pos x="2030" y="158"/>
                  </a:cxn>
                  <a:cxn ang="0">
                    <a:pos x="1791" y="202"/>
                  </a:cxn>
                  <a:cxn ang="0">
                    <a:pos x="1601" y="261"/>
                  </a:cxn>
                  <a:cxn ang="0">
                    <a:pos x="1471" y="338"/>
                  </a:cxn>
                  <a:cxn ang="0">
                    <a:pos x="1438" y="387"/>
                  </a:cxn>
                  <a:cxn ang="0">
                    <a:pos x="1427" y="441"/>
                  </a:cxn>
                </a:cxnLst>
                <a:rect l="0" t="0" r="r" b="b"/>
                <a:pathLst>
                  <a:path w="3007" h="2085">
                    <a:moveTo>
                      <a:pt x="1427" y="441"/>
                    </a:moveTo>
                    <a:lnTo>
                      <a:pt x="1433" y="474"/>
                    </a:lnTo>
                    <a:lnTo>
                      <a:pt x="1444" y="501"/>
                    </a:lnTo>
                    <a:lnTo>
                      <a:pt x="1460" y="528"/>
                    </a:lnTo>
                    <a:lnTo>
                      <a:pt x="1482" y="550"/>
                    </a:lnTo>
                    <a:lnTo>
                      <a:pt x="1541" y="593"/>
                    </a:lnTo>
                    <a:lnTo>
                      <a:pt x="1623" y="637"/>
                    </a:lnTo>
                    <a:lnTo>
                      <a:pt x="1715" y="670"/>
                    </a:lnTo>
                    <a:lnTo>
                      <a:pt x="1818" y="702"/>
                    </a:lnTo>
                    <a:lnTo>
                      <a:pt x="1927" y="735"/>
                    </a:lnTo>
                    <a:lnTo>
                      <a:pt x="2041" y="762"/>
                    </a:lnTo>
                    <a:lnTo>
                      <a:pt x="2155" y="789"/>
                    </a:lnTo>
                    <a:lnTo>
                      <a:pt x="2269" y="822"/>
                    </a:lnTo>
                    <a:lnTo>
                      <a:pt x="2372" y="849"/>
                    </a:lnTo>
                    <a:lnTo>
                      <a:pt x="2464" y="882"/>
                    </a:lnTo>
                    <a:lnTo>
                      <a:pt x="2551" y="920"/>
                    </a:lnTo>
                    <a:lnTo>
                      <a:pt x="2616" y="958"/>
                    </a:lnTo>
                    <a:lnTo>
                      <a:pt x="2638" y="980"/>
                    </a:lnTo>
                    <a:lnTo>
                      <a:pt x="2659" y="1007"/>
                    </a:lnTo>
                    <a:lnTo>
                      <a:pt x="2676" y="1029"/>
                    </a:lnTo>
                    <a:lnTo>
                      <a:pt x="2681" y="1056"/>
                    </a:lnTo>
                    <a:lnTo>
                      <a:pt x="2681" y="1083"/>
                    </a:lnTo>
                    <a:lnTo>
                      <a:pt x="2676" y="1105"/>
                    </a:lnTo>
                    <a:lnTo>
                      <a:pt x="2665" y="1127"/>
                    </a:lnTo>
                    <a:lnTo>
                      <a:pt x="2643" y="1149"/>
                    </a:lnTo>
                    <a:lnTo>
                      <a:pt x="2616" y="1170"/>
                    </a:lnTo>
                    <a:lnTo>
                      <a:pt x="2583" y="1187"/>
                    </a:lnTo>
                    <a:lnTo>
                      <a:pt x="2545" y="1208"/>
                    </a:lnTo>
                    <a:lnTo>
                      <a:pt x="2502" y="1225"/>
                    </a:lnTo>
                    <a:lnTo>
                      <a:pt x="2448" y="1241"/>
                    </a:lnTo>
                    <a:lnTo>
                      <a:pt x="2388" y="1257"/>
                    </a:lnTo>
                    <a:lnTo>
                      <a:pt x="2328" y="1274"/>
                    </a:lnTo>
                    <a:lnTo>
                      <a:pt x="2258" y="1290"/>
                    </a:lnTo>
                    <a:lnTo>
                      <a:pt x="2106" y="1328"/>
                    </a:lnTo>
                    <a:lnTo>
                      <a:pt x="1932" y="1372"/>
                    </a:lnTo>
                    <a:lnTo>
                      <a:pt x="1742" y="1421"/>
                    </a:lnTo>
                    <a:lnTo>
                      <a:pt x="1531" y="1475"/>
                    </a:lnTo>
                    <a:lnTo>
                      <a:pt x="1308" y="1540"/>
                    </a:lnTo>
                    <a:lnTo>
                      <a:pt x="1069" y="1617"/>
                    </a:lnTo>
                    <a:lnTo>
                      <a:pt x="820" y="1709"/>
                    </a:lnTo>
                    <a:lnTo>
                      <a:pt x="554" y="1818"/>
                    </a:lnTo>
                    <a:lnTo>
                      <a:pt x="282" y="1943"/>
                    </a:lnTo>
                    <a:lnTo>
                      <a:pt x="0" y="2085"/>
                    </a:lnTo>
                    <a:lnTo>
                      <a:pt x="152" y="2085"/>
                    </a:lnTo>
                    <a:lnTo>
                      <a:pt x="244" y="2074"/>
                    </a:lnTo>
                    <a:lnTo>
                      <a:pt x="386" y="1992"/>
                    </a:lnTo>
                    <a:lnTo>
                      <a:pt x="537" y="1910"/>
                    </a:lnTo>
                    <a:lnTo>
                      <a:pt x="700" y="1834"/>
                    </a:lnTo>
                    <a:lnTo>
                      <a:pt x="879" y="1763"/>
                    </a:lnTo>
                    <a:lnTo>
                      <a:pt x="1064" y="1693"/>
                    </a:lnTo>
                    <a:lnTo>
                      <a:pt x="1259" y="1622"/>
                    </a:lnTo>
                    <a:lnTo>
                      <a:pt x="1661" y="1497"/>
                    </a:lnTo>
                    <a:lnTo>
                      <a:pt x="1748" y="1470"/>
                    </a:lnTo>
                    <a:lnTo>
                      <a:pt x="1845" y="1442"/>
                    </a:lnTo>
                    <a:lnTo>
                      <a:pt x="2046" y="1393"/>
                    </a:lnTo>
                    <a:lnTo>
                      <a:pt x="2252" y="1339"/>
                    </a:lnTo>
                    <a:lnTo>
                      <a:pt x="2458" y="1285"/>
                    </a:lnTo>
                    <a:lnTo>
                      <a:pt x="2551" y="1263"/>
                    </a:lnTo>
                    <a:lnTo>
                      <a:pt x="2643" y="1236"/>
                    </a:lnTo>
                    <a:lnTo>
                      <a:pt x="2730" y="1214"/>
                    </a:lnTo>
                    <a:lnTo>
                      <a:pt x="2806" y="1192"/>
                    </a:lnTo>
                    <a:lnTo>
                      <a:pt x="2876" y="1170"/>
                    </a:lnTo>
                    <a:lnTo>
                      <a:pt x="2931" y="1149"/>
                    </a:lnTo>
                    <a:lnTo>
                      <a:pt x="2974" y="1132"/>
                    </a:lnTo>
                    <a:lnTo>
                      <a:pt x="3007" y="1116"/>
                    </a:lnTo>
                    <a:lnTo>
                      <a:pt x="3007" y="871"/>
                    </a:lnTo>
                    <a:lnTo>
                      <a:pt x="2941" y="860"/>
                    </a:lnTo>
                    <a:lnTo>
                      <a:pt x="2860" y="844"/>
                    </a:lnTo>
                    <a:lnTo>
                      <a:pt x="2773" y="827"/>
                    </a:lnTo>
                    <a:lnTo>
                      <a:pt x="2670" y="806"/>
                    </a:lnTo>
                    <a:lnTo>
                      <a:pt x="2567" y="784"/>
                    </a:lnTo>
                    <a:lnTo>
                      <a:pt x="2458" y="757"/>
                    </a:lnTo>
                    <a:lnTo>
                      <a:pt x="2241" y="702"/>
                    </a:lnTo>
                    <a:lnTo>
                      <a:pt x="2138" y="670"/>
                    </a:lnTo>
                    <a:lnTo>
                      <a:pt x="2046" y="637"/>
                    </a:lnTo>
                    <a:lnTo>
                      <a:pt x="1959" y="604"/>
                    </a:lnTo>
                    <a:lnTo>
                      <a:pt x="1883" y="566"/>
                    </a:lnTo>
                    <a:lnTo>
                      <a:pt x="1824" y="534"/>
                    </a:lnTo>
                    <a:lnTo>
                      <a:pt x="1780" y="495"/>
                    </a:lnTo>
                    <a:lnTo>
                      <a:pt x="1769" y="474"/>
                    </a:lnTo>
                    <a:lnTo>
                      <a:pt x="1758" y="457"/>
                    </a:lnTo>
                    <a:lnTo>
                      <a:pt x="1753" y="436"/>
                    </a:lnTo>
                    <a:lnTo>
                      <a:pt x="1758" y="419"/>
                    </a:lnTo>
                    <a:lnTo>
                      <a:pt x="1780" y="381"/>
                    </a:lnTo>
                    <a:lnTo>
                      <a:pt x="1813" y="343"/>
                    </a:lnTo>
                    <a:lnTo>
                      <a:pt x="1862" y="316"/>
                    </a:lnTo>
                    <a:lnTo>
                      <a:pt x="1921" y="289"/>
                    </a:lnTo>
                    <a:lnTo>
                      <a:pt x="1986" y="267"/>
                    </a:lnTo>
                    <a:lnTo>
                      <a:pt x="2062" y="245"/>
                    </a:lnTo>
                    <a:lnTo>
                      <a:pt x="2149" y="229"/>
                    </a:lnTo>
                    <a:lnTo>
                      <a:pt x="2236" y="213"/>
                    </a:lnTo>
                    <a:lnTo>
                      <a:pt x="2431" y="180"/>
                    </a:lnTo>
                    <a:lnTo>
                      <a:pt x="2627" y="158"/>
                    </a:lnTo>
                    <a:lnTo>
                      <a:pt x="2827" y="125"/>
                    </a:lnTo>
                    <a:lnTo>
                      <a:pt x="2920" y="109"/>
                    </a:lnTo>
                    <a:lnTo>
                      <a:pt x="3007" y="87"/>
                    </a:lnTo>
                    <a:lnTo>
                      <a:pt x="3007" y="0"/>
                    </a:lnTo>
                    <a:lnTo>
                      <a:pt x="2909" y="22"/>
                    </a:lnTo>
                    <a:lnTo>
                      <a:pt x="2795" y="44"/>
                    </a:lnTo>
                    <a:lnTo>
                      <a:pt x="2676" y="66"/>
                    </a:lnTo>
                    <a:lnTo>
                      <a:pt x="2551" y="82"/>
                    </a:lnTo>
                    <a:lnTo>
                      <a:pt x="2285" y="120"/>
                    </a:lnTo>
                    <a:lnTo>
                      <a:pt x="2155" y="136"/>
                    </a:lnTo>
                    <a:lnTo>
                      <a:pt x="2030" y="158"/>
                    </a:lnTo>
                    <a:lnTo>
                      <a:pt x="1905" y="174"/>
                    </a:lnTo>
                    <a:lnTo>
                      <a:pt x="1791" y="202"/>
                    </a:lnTo>
                    <a:lnTo>
                      <a:pt x="1688" y="229"/>
                    </a:lnTo>
                    <a:lnTo>
                      <a:pt x="1601" y="261"/>
                    </a:lnTo>
                    <a:lnTo>
                      <a:pt x="1525" y="300"/>
                    </a:lnTo>
                    <a:lnTo>
                      <a:pt x="1471" y="338"/>
                    </a:lnTo>
                    <a:lnTo>
                      <a:pt x="1455" y="359"/>
                    </a:lnTo>
                    <a:lnTo>
                      <a:pt x="1438" y="387"/>
                    </a:lnTo>
                    <a:lnTo>
                      <a:pt x="1427" y="414"/>
                    </a:lnTo>
                    <a:lnTo>
                      <a:pt x="1427" y="441"/>
                    </a:lnTo>
                    <a:lnTo>
                      <a:pt x="1427" y="44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Freeform 10"/>
              <p:cNvSpPr>
                <a:spLocks/>
              </p:cNvSpPr>
              <p:nvPr/>
            </p:nvSpPr>
            <p:spPr bwMode="hidden">
              <a:xfrm>
                <a:off x="4501" y="2317"/>
                <a:ext cx="1248" cy="539"/>
              </a:xfrm>
              <a:custGeom>
                <a:avLst/>
                <a:gdLst/>
                <a:ahLst/>
                <a:cxnLst>
                  <a:cxn ang="0">
                    <a:pos x="0" y="332"/>
                  </a:cxn>
                  <a:cxn ang="0">
                    <a:pos x="0" y="360"/>
                  </a:cxn>
                  <a:cxn ang="0">
                    <a:pos x="5" y="387"/>
                  </a:cxn>
                  <a:cxn ang="0">
                    <a:pos x="27" y="414"/>
                  </a:cxn>
                  <a:cxn ang="0">
                    <a:pos x="54" y="436"/>
                  </a:cxn>
                  <a:cxn ang="0">
                    <a:pos x="92" y="463"/>
                  </a:cxn>
                  <a:cxn ang="0">
                    <a:pos x="141" y="490"/>
                  </a:cxn>
                  <a:cxn ang="0">
                    <a:pos x="195" y="512"/>
                  </a:cxn>
                  <a:cxn ang="0">
                    <a:pos x="255" y="539"/>
                  </a:cxn>
                  <a:cxn ang="0">
                    <a:pos x="212" y="517"/>
                  </a:cxn>
                  <a:cxn ang="0">
                    <a:pos x="179" y="490"/>
                  </a:cxn>
                  <a:cxn ang="0">
                    <a:pos x="157" y="468"/>
                  </a:cxn>
                  <a:cxn ang="0">
                    <a:pos x="141" y="447"/>
                  </a:cxn>
                  <a:cxn ang="0">
                    <a:pos x="136" y="425"/>
                  </a:cxn>
                  <a:cxn ang="0">
                    <a:pos x="136" y="403"/>
                  </a:cxn>
                  <a:cxn ang="0">
                    <a:pos x="141" y="381"/>
                  </a:cxn>
                  <a:cxn ang="0">
                    <a:pos x="157" y="365"/>
                  </a:cxn>
                  <a:cxn ang="0">
                    <a:pos x="179" y="343"/>
                  </a:cxn>
                  <a:cxn ang="0">
                    <a:pos x="201" y="327"/>
                  </a:cxn>
                  <a:cxn ang="0">
                    <a:pos x="266" y="294"/>
                  </a:cxn>
                  <a:cxn ang="0">
                    <a:pos x="353" y="262"/>
                  </a:cxn>
                  <a:cxn ang="0">
                    <a:pos x="445" y="234"/>
                  </a:cxn>
                  <a:cxn ang="0">
                    <a:pos x="554" y="213"/>
                  </a:cxn>
                  <a:cxn ang="0">
                    <a:pos x="662" y="191"/>
                  </a:cxn>
                  <a:cxn ang="0">
                    <a:pos x="890" y="153"/>
                  </a:cxn>
                  <a:cxn ang="0">
                    <a:pos x="993" y="136"/>
                  </a:cxn>
                  <a:cxn ang="0">
                    <a:pos x="1091" y="120"/>
                  </a:cxn>
                  <a:cxn ang="0">
                    <a:pos x="1178" y="115"/>
                  </a:cxn>
                  <a:cxn ang="0">
                    <a:pos x="1248" y="104"/>
                  </a:cxn>
                  <a:cxn ang="0">
                    <a:pos x="1248" y="0"/>
                  </a:cxn>
                  <a:cxn ang="0">
                    <a:pos x="1161" y="22"/>
                  </a:cxn>
                  <a:cxn ang="0">
                    <a:pos x="1069" y="38"/>
                  </a:cxn>
                  <a:cxn ang="0">
                    <a:pos x="874" y="71"/>
                  </a:cxn>
                  <a:cxn ang="0">
                    <a:pos x="673" y="93"/>
                  </a:cxn>
                  <a:cxn ang="0">
                    <a:pos x="483" y="126"/>
                  </a:cxn>
                  <a:cxn ang="0">
                    <a:pos x="391" y="142"/>
                  </a:cxn>
                  <a:cxn ang="0">
                    <a:pos x="309" y="158"/>
                  </a:cxn>
                  <a:cxn ang="0">
                    <a:pos x="228" y="180"/>
                  </a:cxn>
                  <a:cxn ang="0">
                    <a:pos x="163" y="202"/>
                  </a:cxn>
                  <a:cxn ang="0">
                    <a:pos x="103" y="229"/>
                  </a:cxn>
                  <a:cxn ang="0">
                    <a:pos x="54" y="256"/>
                  </a:cxn>
                  <a:cxn ang="0">
                    <a:pos x="22" y="294"/>
                  </a:cxn>
                  <a:cxn ang="0">
                    <a:pos x="0" y="332"/>
                  </a:cxn>
                  <a:cxn ang="0">
                    <a:pos x="0" y="332"/>
                  </a:cxn>
                </a:cxnLst>
                <a:rect l="0" t="0" r="r" b="b"/>
                <a:pathLst>
                  <a:path w="1248" h="539">
                    <a:moveTo>
                      <a:pt x="0" y="332"/>
                    </a:moveTo>
                    <a:lnTo>
                      <a:pt x="0" y="360"/>
                    </a:lnTo>
                    <a:lnTo>
                      <a:pt x="5" y="387"/>
                    </a:lnTo>
                    <a:lnTo>
                      <a:pt x="27" y="414"/>
                    </a:lnTo>
                    <a:lnTo>
                      <a:pt x="54" y="436"/>
                    </a:lnTo>
                    <a:lnTo>
                      <a:pt x="92" y="463"/>
                    </a:lnTo>
                    <a:lnTo>
                      <a:pt x="141" y="490"/>
                    </a:lnTo>
                    <a:lnTo>
                      <a:pt x="195" y="512"/>
                    </a:lnTo>
                    <a:lnTo>
                      <a:pt x="255" y="539"/>
                    </a:lnTo>
                    <a:lnTo>
                      <a:pt x="212" y="517"/>
                    </a:lnTo>
                    <a:lnTo>
                      <a:pt x="179" y="490"/>
                    </a:lnTo>
                    <a:lnTo>
                      <a:pt x="157" y="468"/>
                    </a:lnTo>
                    <a:lnTo>
                      <a:pt x="141" y="447"/>
                    </a:lnTo>
                    <a:lnTo>
                      <a:pt x="136" y="425"/>
                    </a:lnTo>
                    <a:lnTo>
                      <a:pt x="136" y="403"/>
                    </a:lnTo>
                    <a:lnTo>
                      <a:pt x="141" y="381"/>
                    </a:lnTo>
                    <a:lnTo>
                      <a:pt x="157" y="365"/>
                    </a:lnTo>
                    <a:lnTo>
                      <a:pt x="179" y="343"/>
                    </a:lnTo>
                    <a:lnTo>
                      <a:pt x="201" y="327"/>
                    </a:lnTo>
                    <a:lnTo>
                      <a:pt x="266" y="294"/>
                    </a:lnTo>
                    <a:lnTo>
                      <a:pt x="353" y="262"/>
                    </a:lnTo>
                    <a:lnTo>
                      <a:pt x="445" y="234"/>
                    </a:lnTo>
                    <a:lnTo>
                      <a:pt x="554" y="213"/>
                    </a:lnTo>
                    <a:lnTo>
                      <a:pt x="662" y="191"/>
                    </a:lnTo>
                    <a:lnTo>
                      <a:pt x="890" y="153"/>
                    </a:lnTo>
                    <a:lnTo>
                      <a:pt x="993" y="136"/>
                    </a:lnTo>
                    <a:lnTo>
                      <a:pt x="1091" y="120"/>
                    </a:lnTo>
                    <a:lnTo>
                      <a:pt x="1178" y="115"/>
                    </a:lnTo>
                    <a:lnTo>
                      <a:pt x="1248" y="104"/>
                    </a:lnTo>
                    <a:lnTo>
                      <a:pt x="1248" y="0"/>
                    </a:lnTo>
                    <a:lnTo>
                      <a:pt x="1161" y="22"/>
                    </a:lnTo>
                    <a:lnTo>
                      <a:pt x="1069" y="38"/>
                    </a:lnTo>
                    <a:lnTo>
                      <a:pt x="874" y="71"/>
                    </a:lnTo>
                    <a:lnTo>
                      <a:pt x="673" y="93"/>
                    </a:lnTo>
                    <a:lnTo>
                      <a:pt x="483" y="126"/>
                    </a:lnTo>
                    <a:lnTo>
                      <a:pt x="391" y="142"/>
                    </a:lnTo>
                    <a:lnTo>
                      <a:pt x="309" y="158"/>
                    </a:lnTo>
                    <a:lnTo>
                      <a:pt x="228" y="180"/>
                    </a:lnTo>
                    <a:lnTo>
                      <a:pt x="163" y="202"/>
                    </a:lnTo>
                    <a:lnTo>
                      <a:pt x="103" y="229"/>
                    </a:lnTo>
                    <a:lnTo>
                      <a:pt x="54" y="256"/>
                    </a:lnTo>
                    <a:lnTo>
                      <a:pt x="22" y="294"/>
                    </a:lnTo>
                    <a:lnTo>
                      <a:pt x="0" y="332"/>
                    </a:lnTo>
                    <a:lnTo>
                      <a:pt x="0" y="33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7843"/>
                      <a:invGamma/>
                    </a:schemeClr>
                  </a:gs>
                  <a:gs pos="100000">
                    <a:schemeClr val="bg1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" name="Freeform 11"/>
            <p:cNvSpPr>
              <a:spLocks/>
            </p:cNvSpPr>
            <p:nvPr/>
          </p:nvSpPr>
          <p:spPr bwMode="hidden">
            <a:xfrm>
              <a:off x="3322" y="1341"/>
              <a:ext cx="1825" cy="1537"/>
            </a:xfrm>
            <a:custGeom>
              <a:avLst/>
              <a:gdLst/>
              <a:ahLst/>
              <a:cxnLst>
                <a:cxn ang="0">
                  <a:pos x="982" y="1061"/>
                </a:cxn>
                <a:cxn ang="0">
                  <a:pos x="1357" y="1012"/>
                </a:cxn>
                <a:cxn ang="0">
                  <a:pos x="1666" y="957"/>
                </a:cxn>
                <a:cxn ang="0">
                  <a:pos x="1916" y="897"/>
                </a:cxn>
                <a:cxn ang="0">
                  <a:pos x="2100" y="832"/>
                </a:cxn>
                <a:cxn ang="0">
                  <a:pos x="2220" y="756"/>
                </a:cxn>
                <a:cxn ang="0">
                  <a:pos x="2285" y="669"/>
                </a:cxn>
                <a:cxn ang="0">
                  <a:pos x="2290" y="560"/>
                </a:cxn>
                <a:cxn ang="0">
                  <a:pos x="2241" y="457"/>
                </a:cxn>
                <a:cxn ang="0">
                  <a:pos x="2144" y="364"/>
                </a:cxn>
                <a:cxn ang="0">
                  <a:pos x="2008" y="277"/>
                </a:cxn>
                <a:cxn ang="0">
                  <a:pos x="1769" y="157"/>
                </a:cxn>
                <a:cxn ang="0">
                  <a:pos x="1612" y="92"/>
                </a:cxn>
                <a:cxn ang="0">
                  <a:pos x="1476" y="43"/>
                </a:cxn>
                <a:cxn ang="0">
                  <a:pos x="1384" y="10"/>
                </a:cxn>
                <a:cxn ang="0">
                  <a:pos x="1346" y="0"/>
                </a:cxn>
                <a:cxn ang="0">
                  <a:pos x="1655" y="119"/>
                </a:cxn>
                <a:cxn ang="0">
                  <a:pos x="1948" y="255"/>
                </a:cxn>
                <a:cxn ang="0">
                  <a:pos x="2068" y="326"/>
                </a:cxn>
                <a:cxn ang="0">
                  <a:pos x="2171" y="402"/>
                </a:cxn>
                <a:cxn ang="0">
                  <a:pos x="2236" y="478"/>
                </a:cxn>
                <a:cxn ang="0">
                  <a:pos x="2263" y="560"/>
                </a:cxn>
                <a:cxn ang="0">
                  <a:pos x="2241" y="636"/>
                </a:cxn>
                <a:cxn ang="0">
                  <a:pos x="2171" y="702"/>
                </a:cxn>
                <a:cxn ang="0">
                  <a:pos x="2062" y="756"/>
                </a:cxn>
                <a:cxn ang="0">
                  <a:pos x="1921" y="800"/>
                </a:cxn>
                <a:cxn ang="0">
                  <a:pos x="1748" y="843"/>
                </a:cxn>
                <a:cxn ang="0">
                  <a:pos x="1351" y="908"/>
                </a:cxn>
                <a:cxn ang="0">
                  <a:pos x="923" y="968"/>
                </a:cxn>
                <a:cxn ang="0">
                  <a:pos x="521" y="1028"/>
                </a:cxn>
                <a:cxn ang="0">
                  <a:pos x="353" y="1066"/>
                </a:cxn>
                <a:cxn ang="0">
                  <a:pos x="206" y="1104"/>
                </a:cxn>
                <a:cxn ang="0">
                  <a:pos x="92" y="1148"/>
                </a:cxn>
                <a:cxn ang="0">
                  <a:pos x="22" y="1202"/>
                </a:cxn>
                <a:cxn ang="0">
                  <a:pos x="0" y="1262"/>
                </a:cxn>
                <a:cxn ang="0">
                  <a:pos x="27" y="1327"/>
                </a:cxn>
                <a:cxn ang="0">
                  <a:pos x="98" y="1382"/>
                </a:cxn>
                <a:cxn ang="0">
                  <a:pos x="196" y="1425"/>
                </a:cxn>
                <a:cxn ang="0">
                  <a:pos x="326" y="1469"/>
                </a:cxn>
                <a:cxn ang="0">
                  <a:pos x="217" y="1414"/>
                </a:cxn>
                <a:cxn ang="0">
                  <a:pos x="147" y="1360"/>
                </a:cxn>
                <a:cxn ang="0">
                  <a:pos x="120" y="1306"/>
                </a:cxn>
                <a:cxn ang="0">
                  <a:pos x="141" y="1257"/>
                </a:cxn>
                <a:cxn ang="0">
                  <a:pos x="212" y="1208"/>
                </a:cxn>
                <a:cxn ang="0">
                  <a:pos x="342" y="1164"/>
                </a:cxn>
                <a:cxn ang="0">
                  <a:pos x="527" y="1121"/>
                </a:cxn>
                <a:cxn ang="0">
                  <a:pos x="771" y="1088"/>
                </a:cxn>
              </a:cxnLst>
              <a:rect l="0" t="0" r="r" b="b"/>
              <a:pathLst>
                <a:path w="2296" h="1469">
                  <a:moveTo>
                    <a:pt x="771" y="1088"/>
                  </a:moveTo>
                  <a:lnTo>
                    <a:pt x="982" y="1061"/>
                  </a:lnTo>
                  <a:lnTo>
                    <a:pt x="1178" y="1034"/>
                  </a:lnTo>
                  <a:lnTo>
                    <a:pt x="1357" y="1012"/>
                  </a:lnTo>
                  <a:lnTo>
                    <a:pt x="1520" y="985"/>
                  </a:lnTo>
                  <a:lnTo>
                    <a:pt x="1666" y="957"/>
                  </a:lnTo>
                  <a:lnTo>
                    <a:pt x="1796" y="930"/>
                  </a:lnTo>
                  <a:lnTo>
                    <a:pt x="1916" y="897"/>
                  </a:lnTo>
                  <a:lnTo>
                    <a:pt x="2013" y="870"/>
                  </a:lnTo>
                  <a:lnTo>
                    <a:pt x="2100" y="832"/>
                  </a:lnTo>
                  <a:lnTo>
                    <a:pt x="2171" y="800"/>
                  </a:lnTo>
                  <a:lnTo>
                    <a:pt x="2220" y="756"/>
                  </a:lnTo>
                  <a:lnTo>
                    <a:pt x="2263" y="712"/>
                  </a:lnTo>
                  <a:lnTo>
                    <a:pt x="2285" y="669"/>
                  </a:lnTo>
                  <a:lnTo>
                    <a:pt x="2296" y="614"/>
                  </a:lnTo>
                  <a:lnTo>
                    <a:pt x="2290" y="560"/>
                  </a:lnTo>
                  <a:lnTo>
                    <a:pt x="2269" y="500"/>
                  </a:lnTo>
                  <a:lnTo>
                    <a:pt x="2241" y="457"/>
                  </a:lnTo>
                  <a:lnTo>
                    <a:pt x="2198" y="408"/>
                  </a:lnTo>
                  <a:lnTo>
                    <a:pt x="2144" y="364"/>
                  </a:lnTo>
                  <a:lnTo>
                    <a:pt x="2079" y="321"/>
                  </a:lnTo>
                  <a:lnTo>
                    <a:pt x="2008" y="277"/>
                  </a:lnTo>
                  <a:lnTo>
                    <a:pt x="1927" y="234"/>
                  </a:lnTo>
                  <a:lnTo>
                    <a:pt x="1769" y="157"/>
                  </a:lnTo>
                  <a:lnTo>
                    <a:pt x="1688" y="125"/>
                  </a:lnTo>
                  <a:lnTo>
                    <a:pt x="1612" y="92"/>
                  </a:lnTo>
                  <a:lnTo>
                    <a:pt x="1536" y="65"/>
                  </a:lnTo>
                  <a:lnTo>
                    <a:pt x="1476" y="43"/>
                  </a:lnTo>
                  <a:lnTo>
                    <a:pt x="1422" y="27"/>
                  </a:lnTo>
                  <a:lnTo>
                    <a:pt x="1384" y="10"/>
                  </a:lnTo>
                  <a:lnTo>
                    <a:pt x="1357" y="5"/>
                  </a:lnTo>
                  <a:lnTo>
                    <a:pt x="1346" y="0"/>
                  </a:lnTo>
                  <a:lnTo>
                    <a:pt x="1498" y="54"/>
                  </a:lnTo>
                  <a:lnTo>
                    <a:pt x="1655" y="119"/>
                  </a:lnTo>
                  <a:lnTo>
                    <a:pt x="1807" y="185"/>
                  </a:lnTo>
                  <a:lnTo>
                    <a:pt x="1948" y="255"/>
                  </a:lnTo>
                  <a:lnTo>
                    <a:pt x="2013" y="288"/>
                  </a:lnTo>
                  <a:lnTo>
                    <a:pt x="2068" y="326"/>
                  </a:lnTo>
                  <a:lnTo>
                    <a:pt x="2122" y="364"/>
                  </a:lnTo>
                  <a:lnTo>
                    <a:pt x="2171" y="402"/>
                  </a:lnTo>
                  <a:lnTo>
                    <a:pt x="2209" y="440"/>
                  </a:lnTo>
                  <a:lnTo>
                    <a:pt x="2236" y="478"/>
                  </a:lnTo>
                  <a:lnTo>
                    <a:pt x="2252" y="522"/>
                  </a:lnTo>
                  <a:lnTo>
                    <a:pt x="2263" y="560"/>
                  </a:lnTo>
                  <a:lnTo>
                    <a:pt x="2258" y="598"/>
                  </a:lnTo>
                  <a:lnTo>
                    <a:pt x="2241" y="636"/>
                  </a:lnTo>
                  <a:lnTo>
                    <a:pt x="2214" y="669"/>
                  </a:lnTo>
                  <a:lnTo>
                    <a:pt x="2171" y="702"/>
                  </a:lnTo>
                  <a:lnTo>
                    <a:pt x="2122" y="729"/>
                  </a:lnTo>
                  <a:lnTo>
                    <a:pt x="2062" y="756"/>
                  </a:lnTo>
                  <a:lnTo>
                    <a:pt x="1997" y="778"/>
                  </a:lnTo>
                  <a:lnTo>
                    <a:pt x="1921" y="800"/>
                  </a:lnTo>
                  <a:lnTo>
                    <a:pt x="1834" y="821"/>
                  </a:lnTo>
                  <a:lnTo>
                    <a:pt x="1748" y="843"/>
                  </a:lnTo>
                  <a:lnTo>
                    <a:pt x="1552" y="876"/>
                  </a:lnTo>
                  <a:lnTo>
                    <a:pt x="1351" y="908"/>
                  </a:lnTo>
                  <a:lnTo>
                    <a:pt x="1134" y="941"/>
                  </a:lnTo>
                  <a:lnTo>
                    <a:pt x="923" y="968"/>
                  </a:lnTo>
                  <a:lnTo>
                    <a:pt x="716" y="995"/>
                  </a:lnTo>
                  <a:lnTo>
                    <a:pt x="521" y="1028"/>
                  </a:lnTo>
                  <a:lnTo>
                    <a:pt x="434" y="1044"/>
                  </a:lnTo>
                  <a:lnTo>
                    <a:pt x="353" y="1066"/>
                  </a:lnTo>
                  <a:lnTo>
                    <a:pt x="277" y="1082"/>
                  </a:lnTo>
                  <a:lnTo>
                    <a:pt x="206" y="1104"/>
                  </a:lnTo>
                  <a:lnTo>
                    <a:pt x="147" y="1126"/>
                  </a:lnTo>
                  <a:lnTo>
                    <a:pt x="92" y="1148"/>
                  </a:lnTo>
                  <a:lnTo>
                    <a:pt x="54" y="1175"/>
                  </a:lnTo>
                  <a:lnTo>
                    <a:pt x="22" y="1202"/>
                  </a:lnTo>
                  <a:lnTo>
                    <a:pt x="6" y="1229"/>
                  </a:lnTo>
                  <a:lnTo>
                    <a:pt x="0" y="1262"/>
                  </a:lnTo>
                  <a:lnTo>
                    <a:pt x="11" y="1295"/>
                  </a:lnTo>
                  <a:lnTo>
                    <a:pt x="27" y="1327"/>
                  </a:lnTo>
                  <a:lnTo>
                    <a:pt x="54" y="1355"/>
                  </a:lnTo>
                  <a:lnTo>
                    <a:pt x="98" y="1382"/>
                  </a:lnTo>
                  <a:lnTo>
                    <a:pt x="141" y="1404"/>
                  </a:lnTo>
                  <a:lnTo>
                    <a:pt x="196" y="1425"/>
                  </a:lnTo>
                  <a:lnTo>
                    <a:pt x="261" y="1447"/>
                  </a:lnTo>
                  <a:lnTo>
                    <a:pt x="326" y="1469"/>
                  </a:lnTo>
                  <a:lnTo>
                    <a:pt x="266" y="1442"/>
                  </a:lnTo>
                  <a:lnTo>
                    <a:pt x="217" y="1414"/>
                  </a:lnTo>
                  <a:lnTo>
                    <a:pt x="174" y="1387"/>
                  </a:lnTo>
                  <a:lnTo>
                    <a:pt x="147" y="1360"/>
                  </a:lnTo>
                  <a:lnTo>
                    <a:pt x="125" y="1333"/>
                  </a:lnTo>
                  <a:lnTo>
                    <a:pt x="120" y="1306"/>
                  </a:lnTo>
                  <a:lnTo>
                    <a:pt x="125" y="1278"/>
                  </a:lnTo>
                  <a:lnTo>
                    <a:pt x="141" y="1257"/>
                  </a:lnTo>
                  <a:lnTo>
                    <a:pt x="174" y="1229"/>
                  </a:lnTo>
                  <a:lnTo>
                    <a:pt x="212" y="1208"/>
                  </a:lnTo>
                  <a:lnTo>
                    <a:pt x="272" y="1186"/>
                  </a:lnTo>
                  <a:lnTo>
                    <a:pt x="342" y="1164"/>
                  </a:lnTo>
                  <a:lnTo>
                    <a:pt x="423" y="1142"/>
                  </a:lnTo>
                  <a:lnTo>
                    <a:pt x="527" y="1121"/>
                  </a:lnTo>
                  <a:lnTo>
                    <a:pt x="641" y="1104"/>
                  </a:lnTo>
                  <a:lnTo>
                    <a:pt x="771" y="1088"/>
                  </a:lnTo>
                  <a:lnTo>
                    <a:pt x="771" y="108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7" name="Freeform 12"/>
            <p:cNvSpPr>
              <a:spLocks/>
            </p:cNvSpPr>
            <p:nvPr/>
          </p:nvSpPr>
          <p:spPr bwMode="hidden">
            <a:xfrm>
              <a:off x="0" y="0"/>
              <a:ext cx="5758" cy="17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06"/>
                </a:cxn>
                <a:cxn ang="0">
                  <a:pos x="5740" y="1906"/>
                </a:cxn>
                <a:cxn ang="0">
                  <a:pos x="574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0" h="1906">
                  <a:moveTo>
                    <a:pt x="0" y="0"/>
                  </a:moveTo>
                  <a:lnTo>
                    <a:pt x="0" y="1906"/>
                  </a:lnTo>
                  <a:lnTo>
                    <a:pt x="5740" y="1906"/>
                  </a:lnTo>
                  <a:lnTo>
                    <a:pt x="574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14" name="Text Box 16"/>
          <p:cNvSpPr txBox="1">
            <a:spLocks noChangeArrowheads="1"/>
          </p:cNvSpPr>
          <p:nvPr/>
        </p:nvSpPr>
        <p:spPr bwMode="auto">
          <a:xfrm>
            <a:off x="11074400" y="304802"/>
            <a:ext cx="7112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5" name="Text Box 17"/>
          <p:cNvSpPr txBox="1">
            <a:spLocks noChangeArrowheads="1"/>
          </p:cNvSpPr>
          <p:nvPr/>
        </p:nvSpPr>
        <p:spPr bwMode="auto">
          <a:xfrm>
            <a:off x="11582400" y="228604"/>
            <a:ext cx="609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6BF723B7-5516-4332-9CC4-EBB2A16E48AE}" type="slidenum">
              <a:rPr lang="en-US" sz="1800">
                <a:solidFill>
                  <a:srgbClr val="FFFFFF"/>
                </a:solidFill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800">
              <a:solidFill>
                <a:srgbClr val="FFFFFF"/>
              </a:solidFill>
            </a:endParaRPr>
          </a:p>
        </p:txBody>
      </p:sp>
      <p:graphicFrame>
        <p:nvGraphicFramePr>
          <p:cNvPr id="16" name="Object 18"/>
          <p:cNvGraphicFramePr>
            <a:graphicFrameLocks noChangeAspect="1"/>
          </p:cNvGraphicFramePr>
          <p:nvPr/>
        </p:nvGraphicFramePr>
        <p:xfrm>
          <a:off x="9652000" y="5918200"/>
          <a:ext cx="2540000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Bitmap Image" r:id="rId4" imgW="2142857" imgH="1057423" progId="Paint.Picture">
                  <p:embed/>
                </p:oleObj>
              </mc:Choice>
              <mc:Fallback>
                <p:oleObj name="Bitmap Image" r:id="rId4" imgW="2142857" imgH="1057423" progId="Paint.Picture">
                  <p:embed/>
                  <p:pic>
                    <p:nvPicPr>
                      <p:cNvPr id="16" name="Object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52000" y="5918200"/>
                        <a:ext cx="2540000" cy="939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7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lowchart: Process 17"/>
          <p:cNvSpPr/>
          <p:nvPr userDrawn="1"/>
        </p:nvSpPr>
        <p:spPr>
          <a:xfrm>
            <a:off x="334433" y="908050"/>
            <a:ext cx="3744384" cy="46038"/>
          </a:xfrm>
          <a:prstGeom prst="flowChartProcess">
            <a:avLst/>
          </a:prstGeom>
          <a:solidFill>
            <a:srgbClr val="9B9B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19" name="Flowchart: Process 18"/>
          <p:cNvSpPr/>
          <p:nvPr userDrawn="1"/>
        </p:nvSpPr>
        <p:spPr>
          <a:xfrm>
            <a:off x="3467100" y="908050"/>
            <a:ext cx="2271184" cy="46038"/>
          </a:xfrm>
          <a:prstGeom prst="flowChartProcess">
            <a:avLst/>
          </a:prstGeom>
          <a:solidFill>
            <a:srgbClr val="BDB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20" name="Flowchart: Process 19"/>
          <p:cNvSpPr/>
          <p:nvPr userDrawn="1"/>
        </p:nvSpPr>
        <p:spPr>
          <a:xfrm>
            <a:off x="5738287" y="908050"/>
            <a:ext cx="2271183" cy="46038"/>
          </a:xfrm>
          <a:prstGeom prst="flowChartProcess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0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508003" y="6438900"/>
            <a:ext cx="673100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A6B8996-A95C-4795-B0B0-D75F900294E1}" type="slidenum">
              <a:rPr lang="en-GB" sz="1400">
                <a:solidFill>
                  <a:srgbClr val="FFFFFF">
                    <a:lumMod val="50000"/>
                    <a:lumOff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800" dirty="0">
              <a:solidFill>
                <a:srgbClr val="FFFFFF">
                  <a:lumMod val="50000"/>
                  <a:lumOff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5360" y="476672"/>
            <a:ext cx="9889099" cy="3600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18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35360" y="1989138"/>
            <a:ext cx="11618384" cy="4320182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1600"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35246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F3CE6C-A29A-4283-ACEA-CD9F26D8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EA2175-4212-4EE3-A071-1350B53C87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C171D3-7372-4FE6-80E3-F62000C12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99222D-833D-4FFA-BF8B-5F7D954F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B882A8-7FDC-48C2-8A24-E1F419DA8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239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36B239-927D-40E5-A927-B523184D2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51B33B-DCA4-4BAA-9ACA-B97159F629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F13B2F3-6471-4AFB-A4DA-05155A1CDE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68F7F0-E6EA-4810-A39D-90FAA55B2C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B99DB9-7BF8-4308-8F98-11C8F6428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593BA8-55E6-4D08-9F70-6742D7B4E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995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403EA-078E-4838-B6DF-173521DDD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614F2-F0D8-419A-9039-F9FC18565F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265F07-12C4-4AA2-9A2E-6716620DAC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5AC257-C94F-4325-ADBF-8DE57D682A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4A37C6-BAFE-4891-BC14-8483A16D30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E80AD0A-F4A7-4931-B7B1-3391456F7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AD0DBA4-5317-4E2D-9000-DA4C66479C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6BC22F-B702-4044-99B5-3FB84661B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71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007ABE-E13F-4D27-8AC7-FA30C03E3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2B0918F-7728-4EB0-BF65-B058D447F3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49E856-C3CB-4581-8CD6-0F947DA47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9C0CDC-A54E-4A0A-A7F0-EB1A6EE44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513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3554607-A7C8-4411-82E8-247A73162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2E6BDC-8131-4246-A206-A10FD05173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C32BA6-967F-45D0-A1B9-ACC054D32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9146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BB256-D78E-4986-829D-4034CE92D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F84FA-BA38-4CB5-80AB-A228AD3095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4CFAD5-0FD7-4991-8003-18FD909EA5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93731C-5F81-44BA-B931-C46504158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AE8F5E-DC7A-44C0-B689-BECC5CEF7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5B631E-73A5-4960-A06B-D9F2F78579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982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6B2D2D-702E-4CBD-818B-6F6F79ACB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043356-EE73-4A7D-99C7-9E2577BD96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CA7626-8954-4E91-A31A-1B6665FE31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26979D-A5CF-4507-8864-83729059E3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542D0B-14F0-4688-BDC1-903BB4A57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8AF26D-48DF-4F9A-92D6-3A49E69ED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466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4181C52-F512-49DD-A488-1263763F0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8CB4FA-9AC1-47F8-AE26-DEAA8FD4C8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986E6F-8A63-4DC8-ADF4-5AD4910D4A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E759A8-B8CB-48CF-BCCA-259B0D9F7399}" type="datetimeFigureOut">
              <a:rPr lang="en-US" smtClean="0"/>
              <a:t>10/25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4A8620-96BF-4923-8E2B-E448C4F453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CD093F-28EE-4EA6-AD20-35BB2D9F2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B49A75-FF96-4533-BF80-09B080FB8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502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>
            <a:extLst>
              <a:ext uri="{FF2B5EF4-FFF2-40B4-BE49-F238E27FC236}">
                <a16:creationId xmlns:a16="http://schemas.microsoft.com/office/drawing/2014/main" id="{FE84E2C8-B878-4E2B-AA38-AF1FBC17028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33DA9285-4FB6-254E-BDDC-BE8CC2ECE7A7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3FAAEF3D-368C-094B-B71B-C8672A5B8C9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>
              <a:defRPr/>
            </a:pPr>
            <a:fld id="{13E4A630-0B46-4C69-A490-0723B2C4C45B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  <p:graphicFrame>
        <p:nvGraphicFramePr>
          <p:cNvPr id="1034" name="Group 10">
            <a:extLst>
              <a:ext uri="{FF2B5EF4-FFF2-40B4-BE49-F238E27FC236}">
                <a16:creationId xmlns:a16="http://schemas.microsoft.com/office/drawing/2014/main" id="{64810061-B3BB-9A45-9738-F58C97C52FF9}"/>
              </a:ext>
            </a:extLst>
          </p:cNvPr>
          <p:cNvGraphicFramePr>
            <a:graphicFrameLocks noGrp="1"/>
          </p:cNvGraphicFramePr>
          <p:nvPr/>
        </p:nvGraphicFramePr>
        <p:xfrm>
          <a:off x="334434" y="1111250"/>
          <a:ext cx="11523133" cy="517576"/>
        </p:xfrm>
        <a:graphic>
          <a:graphicData uri="http://schemas.openxmlformats.org/drawingml/2006/table">
            <a:tbl>
              <a:tblPr/>
              <a:tblGrid>
                <a:gridCol w="11523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7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121920" marR="121920" marT="45428" marB="45428" horzOverflow="overflow">
                    <a:lnL cap="flat">
                      <a:noFill/>
                    </a:lnL>
                    <a:lnR cap="flat">
                      <a:noFill/>
                    </a:lnR>
                    <a:lnT w="38100" cap="flat" cmpd="sng" algn="ctr">
                      <a:solidFill>
                        <a:srgbClr val="A5002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032" name="Picture 4">
            <a:extLst>
              <a:ext uri="{FF2B5EF4-FFF2-40B4-BE49-F238E27FC236}">
                <a16:creationId xmlns:a16="http://schemas.microsoft.com/office/drawing/2014/main" id="{700FA5DD-A645-46EE-BBDE-F7693DC896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130175"/>
            <a:ext cx="4284133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6">
            <a:extLst>
              <a:ext uri="{FF2B5EF4-FFF2-40B4-BE49-F238E27FC236}">
                <a16:creationId xmlns:a16="http://schemas.microsoft.com/office/drawing/2014/main" id="{5E70D5F8-997E-451A-AB9C-195333E528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00" y="122239"/>
            <a:ext cx="1151467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0">
            <a:extLst>
              <a:ext uri="{FF2B5EF4-FFF2-40B4-BE49-F238E27FC236}">
                <a16:creationId xmlns:a16="http://schemas.microsoft.com/office/drawing/2014/main" id="{59954D7B-419C-4084-B5EF-254EE0DAAB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385" y="177801"/>
            <a:ext cx="102023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2">
            <a:extLst>
              <a:ext uri="{FF2B5EF4-FFF2-40B4-BE49-F238E27FC236}">
                <a16:creationId xmlns:a16="http://schemas.microsoft.com/office/drawing/2014/main" id="{F2D45121-1B1E-4A7F-8B52-DE4D52C0E2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34" y="333376"/>
            <a:ext cx="231351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6" name="Picture 14">
            <a:extLst>
              <a:ext uri="{FF2B5EF4-FFF2-40B4-BE49-F238E27FC236}">
                <a16:creationId xmlns:a16="http://schemas.microsoft.com/office/drawing/2014/main" id="{C0CB5EBF-9952-48A9-82F2-930A5C340D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9867" y="233363"/>
            <a:ext cx="164253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5762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accent2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hAMgT45Obhk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7.png"/><Relationship Id="rId4" Type="http://schemas.openxmlformats.org/officeDocument/2006/relationships/hyperlink" Target="New%20Orleans%20&#8211;%20Defective%20Construction%20&#8211;%20Building%20Collapse%20&#8211;%20Controlled%20Explosion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www.youtube.com/watch?v=jLoqhWjXc5E" TargetMode="Externa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ops.org/SiteCollectionDocuments/ASR/2015-ASR-supplement.pdf" TargetMode="External"/><Relationship Id="rId2" Type="http://schemas.openxmlformats.org/officeDocument/2006/relationships/hyperlink" Target="https://ssrn.com/abstract=1776295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cdnapisec.kaltura.com/p/1927491/sp/192749100/embedIframeJs/uiconf_id/29226502/partner_id/1927491?iframeembed=true&amp;playerId=kaltura_player&amp;entry_id=1_29tkl1ea&amp;flashvars%5bstreamerType%5d=auto&amp;flashvars%5blocalizationCode%5d=en&amp;flashvars%5bleadWithHTML5%5d=true&amp;flashvars%5bsideBarContainer.plugin%5d=true&amp;flashvars%5bsideBarContainer.position%5d=left&amp;flashvars%5bsideBarContainer.clickToClose%5d=true&amp;flashvars%5bchapters.plugin%5d=true&amp;flashvars%5bchapters.layout%5d=vertical&amp;flashvars%5bchapters.thumbnailRotator%5d=false&amp;flashvars%5bstreamSelector.plugin%5d=true&amp;flashvars%5bEmbedPlayer.SpinnerTarget%5d=videoHolder&amp;flashvars%5bdualScreen.plugin%5d=true&amp;flashvars%5bKaltura.addCrossoriginToIframe%5d=true&amp;&amp;wid=1_kl2nafoj" TargetMode="External"/><Relationship Id="rId5" Type="http://schemas.openxmlformats.org/officeDocument/2006/relationships/hyperlink" Target="https://www.law.gwu.edu/government-procurement-courses-and-degree-offerings" TargetMode="External"/><Relationship Id="rId4" Type="http://schemas.openxmlformats.org/officeDocument/2006/relationships/hyperlink" Target="https://cdnapisec.kaltura.com/p/1927491/sp/192749100/embedIframeJs/uiconf_id/29226502/partner_id/1927491?iframeembed=true&amp;playerId=kaltura_player&amp;entry_id=1_3zicv80m&amp;flashvars%5bstreamerType%5d=auto&amp;flashvars%5blocalizationCode%5d=en&amp;flashvars%5bleadWithHTML5%5d=true&amp;flashvars%5bsideBarContainer.plugin%5d=true&amp;flashvars%5bsideBarContainer.position%5d=left&amp;flashvars%5bsideBarContainer.clickToClose%5d=true&amp;flashvars%5bchapters.plugin%5d=true&amp;flashvars%5bchapters.layout%5d=vertical&amp;flashvars%5bchapters.thumbnailRotator%5d=false&amp;flashvars%5bstreamSelector.plugin%5d=true&amp;flashvars%5bEmbedPlayer.SpinnerTarget%5d=videoHolder&amp;flashvars%5bdualScreen.plugin%5d=true&amp;flashvars%5bKaltura.addCrossoriginToIframe%5d=true&amp;&amp;wid=1_i6q0y1xg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743200" y="3200400"/>
            <a:ext cx="6705600" cy="2705450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Professor Christopher R. Yukins</a:t>
            </a:r>
          </a:p>
          <a:p>
            <a:r>
              <a:rPr lang="en-US" dirty="0"/>
              <a:t>George Washington University Law School</a:t>
            </a:r>
          </a:p>
          <a:p>
            <a:endParaRPr lang="en-US" dirty="0"/>
          </a:p>
          <a:p>
            <a:r>
              <a:rPr lang="en-US" dirty="0"/>
              <a:t>Tbilisi, Georgia</a:t>
            </a:r>
          </a:p>
          <a:p>
            <a:endParaRPr lang="en-US" dirty="0"/>
          </a:p>
          <a:p>
            <a:r>
              <a:rPr lang="en-US" dirty="0"/>
              <a:t>28 October 2019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95072" y="6210300"/>
            <a:ext cx="609600" cy="457200"/>
          </a:xfrm>
          <a:prstGeom prst="ellipse">
            <a:avLst/>
          </a:prstGeom>
          <a:solidFill>
            <a:schemeClr val="accent1"/>
          </a:solidFill>
        </p:spPr>
        <p:txBody>
          <a:bodyPr wrap="none" lIns="0" tIns="0" rIns="0" bIns="0" anchor="ctr" anchorCtr="1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kumimoji="0" sz="1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D6A1BA-F535-4998-B122-5EEC82DBA69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ＭＳ Ｐゴシック"/>
              <a:cs typeface="+mj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914400" y="1160042"/>
            <a:ext cx="10363200" cy="1470025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The Devastating Consequences of Corruption in Public Procurement – Presentation of International Cases</a:t>
            </a: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8193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15AD7-AD23-4290-B3CC-067628DF2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3470"/>
            <a:ext cx="10972800" cy="11430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erformance Risk:  New Orlea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755FFC-488B-431A-9FDF-809D11508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43392-A778-4A9D-A4DC-218667331825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82A488F-D518-434D-AD43-C85703378912}"/>
              </a:ext>
            </a:extLst>
          </p:cNvPr>
          <p:cNvSpPr txBox="1"/>
          <p:nvPr/>
        </p:nvSpPr>
        <p:spPr>
          <a:xfrm>
            <a:off x="1666874" y="6169581"/>
            <a:ext cx="8858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w Orleans – Defective Construction – Building Collapse – Controlled Explos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8" name="Picture 7">
            <a:hlinkClick r:id="rId4" action="ppaction://hlinkfile"/>
            <a:extLst>
              <a:ext uri="{FF2B5EF4-FFF2-40B4-BE49-F238E27FC236}">
                <a16:creationId xmlns:a16="http://schemas.microsoft.com/office/drawing/2014/main" id="{F3890762-112A-4270-B116-E837B2DCBC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3007" y="1216470"/>
            <a:ext cx="8565983" cy="4770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648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9DDD3-009B-498A-B8F3-00D88353C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tx1"/>
                </a:solidFill>
              </a:rPr>
              <a:t>Performance Risk:  </a:t>
            </a:r>
            <a:br>
              <a:rPr lang="en-US" sz="3600" dirty="0">
                <a:solidFill>
                  <a:schemeClr val="tx1"/>
                </a:solidFill>
              </a:rPr>
            </a:br>
            <a:r>
              <a:rPr lang="en-US" sz="3600" dirty="0">
                <a:solidFill>
                  <a:schemeClr val="tx1"/>
                </a:solidFill>
              </a:rPr>
              <a:t>Florida International University</a:t>
            </a:r>
          </a:p>
        </p:txBody>
      </p:sp>
      <p:pic>
        <p:nvPicPr>
          <p:cNvPr id="5" name="Content Placeholder 4">
            <a:hlinkClick r:id="rId2"/>
            <a:extLst>
              <a:ext uri="{FF2B5EF4-FFF2-40B4-BE49-F238E27FC236}">
                <a16:creationId xmlns:a16="http://schemas.microsoft.com/office/drawing/2014/main" id="{8F2663CE-346E-45CC-9C01-B35F4B52D9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54070" y="2035233"/>
            <a:ext cx="7107376" cy="396589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7D52E2-C7E8-4B42-A654-A7EE4F56E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43392-A778-4A9D-A4DC-218667331825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489855-F258-441D-9CDA-221FCB6EAC82}"/>
              </a:ext>
            </a:extLst>
          </p:cNvPr>
          <p:cNvSpPr txBox="1"/>
          <p:nvPr/>
        </p:nvSpPr>
        <p:spPr>
          <a:xfrm>
            <a:off x="1484851" y="6125706"/>
            <a:ext cx="84812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hlinkClick r:id="rId2"/>
              </a:rPr>
              <a:t>https://www.youtube.com/watch?v=jLoqhWjXc5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6322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F86EED-533B-42F8-BA9E-7499B5DF0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Reputation Ris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70C2A3-9A56-415D-88BA-4CDCFDAF2E99}"/>
              </a:ext>
            </a:extLst>
          </p:cNvPr>
          <p:cNvSpPr txBox="1"/>
          <p:nvPr/>
        </p:nvSpPr>
        <p:spPr>
          <a:xfrm>
            <a:off x="6722378" y="1915354"/>
            <a:ext cx="4341845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“[Trudeau] demonstrated the hollowness of his progressive virtues during what became known as the SNC-Lavalin scandal, in which he allegedly sidelined Canada’s first Indigenou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ttorney general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because s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refused to subvert the independence of her office by granting a politically well-connected engineering firm a pass on corruption charg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. The episode betrayed a government that is just as centralized, controlling and cynical as the one it replaced.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3053CD5-72AE-4342-A0F5-18879511D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2232" y="0"/>
            <a:ext cx="646366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379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6" name="Picture 6" descr="http://c4.staticflickr.com/4/3094/2841116160_64570949f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626" y="0"/>
            <a:ext cx="9111842" cy="6833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7" name="Picture 8" descr="http://3.bp.blogspot.com/_VsMJdGCn6Rc/TL22vp3xdKI/AAAAAAAAAnk/bxZZRWZc7pE/s320/Boss_Tweed,_Nas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3229" y="2743200"/>
            <a:ext cx="2644775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523996" y="5083380"/>
            <a:ext cx="4429125" cy="1258871"/>
          </a:xfrm>
          <a:solidFill>
            <a:schemeClr val="tx1"/>
          </a:solidFill>
        </p:spPr>
        <p:txBody>
          <a:bodyPr>
            <a:noAutofit/>
          </a:bodyPr>
          <a:lstStyle/>
          <a:p>
            <a:pPr>
              <a:defRPr/>
            </a:pPr>
            <a:r>
              <a:rPr lang="en-US" sz="2800" dirty="0">
                <a:solidFill>
                  <a:srgbClr val="FFFF00"/>
                </a:solidFill>
              </a:rPr>
              <a:t>“Boss” Tweed: </a:t>
            </a:r>
            <a:br>
              <a:rPr lang="en-US" sz="2800" dirty="0">
                <a:solidFill>
                  <a:srgbClr val="FFFF00"/>
                </a:solidFill>
              </a:rPr>
            </a:br>
            <a:r>
              <a:rPr lang="en-US" sz="2800" dirty="0">
                <a:solidFill>
                  <a:srgbClr val="FFFF00"/>
                </a:solidFill>
              </a:rPr>
              <a:t>Fiduciary Risks of Misdirected Fund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C6ED40-A385-4739-B7D6-BE05EAF16B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056" y="103451"/>
            <a:ext cx="3070371" cy="4555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65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1458A9E-D4F8-4C01-A261-738F5DAEFD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2660" y="-625953"/>
            <a:ext cx="12469239" cy="81940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BE98E1-C4F3-4420-97E0-0DE8C4598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011" y="180999"/>
            <a:ext cx="10515600" cy="1122853"/>
          </a:xfrm>
        </p:spPr>
        <p:txBody>
          <a:bodyPr/>
          <a:lstStyle/>
          <a:p>
            <a:r>
              <a:rPr lang="en-US" sz="4000" dirty="0">
                <a:solidFill>
                  <a:schemeClr val="tx1"/>
                </a:solidFill>
              </a:rPr>
              <a:t>Impact of Corruption in Public Procurement in Georgi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45EFE-F384-4EB1-8CB3-7DDD8B5576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011" y="2269375"/>
            <a:ext cx="11371811" cy="2993289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en-GB" sz="2800" b="1" dirty="0">
                <a:solidFill>
                  <a:schemeClr val="bg1"/>
                </a:solidFill>
              </a:rPr>
              <a:t>“Public procurement is one of the most corruption-prone systems. Ineffective public procurement system [diverts the] market from competition [and thus increases the costs of] goods, service and construction works and results in unjustified public expenses and thus, affects taxpayers’ financial resources. Furthermore, . . . public procurement [as a portion of] GDP is relatively high and . . . fluctuates around 12%.”</a:t>
            </a:r>
            <a:r>
              <a:rPr lang="ka-GE" sz="2800" b="1" dirty="0">
                <a:solidFill>
                  <a:schemeClr val="bg1"/>
                </a:solidFill>
              </a:rPr>
              <a:t> 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5F4673-FCD3-4A81-86AA-78B7EA48D055}"/>
              </a:ext>
            </a:extLst>
          </p:cNvPr>
          <p:cNvSpPr txBox="1"/>
          <p:nvPr/>
        </p:nvSpPr>
        <p:spPr>
          <a:xfrm>
            <a:off x="6089420" y="5476672"/>
            <a:ext cx="39592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National Anti-Corruption strategy of </a:t>
            </a:r>
            <a:r>
              <a:rPr kumimoji="0" lang="en-GB" sz="1800" b="1" i="0" u="none" strike="noStrike" kern="120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georgia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2017-2018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4457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Readings &amp; Vide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2900" dirty="0"/>
              <a:t>Christopher R. Yukins, </a:t>
            </a:r>
            <a:r>
              <a:rPr lang="en-US" sz="2900" i="1" dirty="0"/>
              <a:t>A Versatile Prism: Assessing Procurement Law Through the Principal-Agent Model </a:t>
            </a:r>
            <a:r>
              <a:rPr lang="en-US" sz="2900" dirty="0"/>
              <a:t>(PCLJ 2010), </a:t>
            </a:r>
            <a:r>
              <a:rPr lang="en-US" sz="2900" u="sng" dirty="0">
                <a:hlinkClick r:id="rId2"/>
              </a:rPr>
              <a:t>https://ssrn.com/abstract=1776295</a:t>
            </a:r>
            <a:endParaRPr lang="en-US" sz="2900" u="sng" dirty="0"/>
          </a:p>
          <a:p>
            <a:r>
              <a:rPr lang="en-US" sz="2900" dirty="0"/>
              <a:t>Johannes Schnitzer &amp; Christopher Yukins, </a:t>
            </a:r>
            <a:r>
              <a:rPr lang="en-US" sz="2900" i="1" dirty="0"/>
              <a:t>Combatting Corruption in Procurement</a:t>
            </a:r>
            <a:r>
              <a:rPr lang="en-US" sz="2900" dirty="0"/>
              <a:t>, </a:t>
            </a:r>
            <a:r>
              <a:rPr lang="en-US" sz="2900" i="1" dirty="0"/>
              <a:t>in</a:t>
            </a:r>
            <a:r>
              <a:rPr lang="en-US" sz="2900" dirty="0"/>
              <a:t> UNOPS:  Future-Proofing Procurement 26-29 (2015), </a:t>
            </a:r>
            <a:r>
              <a:rPr lang="en-US" sz="2900" dirty="0">
                <a:hlinkClick r:id="rId3"/>
              </a:rPr>
              <a:t>https://www.unops.org/SiteCollectionDocuments/ASR/2015-ASR-supplement.pdf</a:t>
            </a:r>
            <a:r>
              <a:rPr lang="en-US" sz="2900" dirty="0"/>
              <a:t> </a:t>
            </a:r>
          </a:p>
          <a:p>
            <a:pPr lvl="1"/>
            <a:r>
              <a:rPr lang="en-US" sz="2900" b="1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: Fighting Corruption in Procurement</a:t>
            </a:r>
            <a:r>
              <a:rPr lang="en-US" sz="2900" b="1" dirty="0"/>
              <a:t> </a:t>
            </a:r>
            <a:r>
              <a:rPr lang="en-US" sz="2900" dirty="0"/>
              <a:t>(40:12) – in this video excerpted from GWU Law School’s “</a:t>
            </a:r>
            <a:r>
              <a:rPr lang="en-US" sz="2900" dirty="0">
                <a:hlinkClick r:id="rId5"/>
              </a:rPr>
              <a:t>Foreign Government Contracting</a:t>
            </a:r>
            <a:r>
              <a:rPr lang="en-US" sz="2900" dirty="0"/>
              <a:t>” course, Professor Christopher Yukins discusses common patterns and strategies in fighting corruption in public procurement around the world.</a:t>
            </a:r>
          </a:p>
          <a:p>
            <a:pPr lvl="1"/>
            <a:r>
              <a:rPr lang="en-US" sz="2900" b="1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: Corporate Compliance</a:t>
            </a:r>
            <a:r>
              <a:rPr lang="en-US" sz="2900" dirty="0"/>
              <a:t> (7:50) – in this video excerpted from GWU Law School’s “</a:t>
            </a:r>
            <a:r>
              <a:rPr lang="en-US" sz="2900" dirty="0">
                <a:hlinkClick r:id="rId5"/>
              </a:rPr>
              <a:t>Foreign Government Contracting</a:t>
            </a:r>
            <a:r>
              <a:rPr lang="en-US" sz="2900" dirty="0"/>
              <a:t>” course, Professor Christopher Yukins discusses corporate compliance requirements and strategies, from around the world</a:t>
            </a:r>
            <a:r>
              <a:rPr lang="en-US" dirty="0"/>
              <a:t>.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9523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6ACB23-EEA5-454A-9C74-411947E0E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1266825"/>
            <a:ext cx="8229600" cy="1143000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en-US" sz="2800" b="1" dirty="0"/>
              <a:t>George Washington University Law School</a:t>
            </a:r>
          </a:p>
        </p:txBody>
      </p:sp>
      <p:pic>
        <p:nvPicPr>
          <p:cNvPr id="5123" name="Picture 3" descr="Detail of complex from G Street">
            <a:extLst>
              <a:ext uri="{FF2B5EF4-FFF2-40B4-BE49-F238E27FC236}">
                <a16:creationId xmlns:a16="http://schemas.microsoft.com/office/drawing/2014/main" id="{7A45E51B-0775-470F-8BC5-C86A8B408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1981200"/>
            <a:ext cx="9144000" cy="321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5306DB93-A4CF-470F-8008-4C923335C319}"/>
              </a:ext>
            </a:extLst>
          </p:cNvPr>
          <p:cNvSpPr txBox="1">
            <a:spLocks/>
          </p:cNvSpPr>
          <p:nvPr/>
        </p:nvSpPr>
        <p:spPr bwMode="auto">
          <a:xfrm>
            <a:off x="1524000" y="5486400"/>
            <a:ext cx="6248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ＭＳ Ｐゴシック"/>
                <a:cs typeface="+mn-cs"/>
              </a:rPr>
              <a:t>Government Procurement Law Program, established 196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151E95-7176-48B7-A060-54B4A42CE2A7}"/>
              </a:ext>
            </a:extLst>
          </p:cNvPr>
          <p:cNvSpPr txBox="1"/>
          <p:nvPr/>
        </p:nvSpPr>
        <p:spPr>
          <a:xfrm>
            <a:off x="2895600" y="1981201"/>
            <a:ext cx="7772400" cy="83099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roviding traditional and online procurement law classes to students from around the worl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3" descr="j0408466[1]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990600"/>
            <a:ext cx="9144000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709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981200" y="6123992"/>
            <a:ext cx="8229600" cy="838200"/>
          </a:xfrm>
        </p:spPr>
        <p:txBody>
          <a:bodyPr/>
          <a:lstStyle/>
          <a:p>
            <a:pPr eaLnBrk="1" hangingPunct="1">
              <a:defRPr/>
            </a:pPr>
            <a:r>
              <a:rPr lang="en-US" sz="3600" dirty="0"/>
              <a:t>Procurement Law Centers: 2000</a:t>
            </a:r>
          </a:p>
        </p:txBody>
      </p:sp>
      <p:sp>
        <p:nvSpPr>
          <p:cNvPr id="14340" name="Text Box 4"/>
          <p:cNvSpPr txBox="1">
            <a:spLocks noChangeArrowheads="1"/>
          </p:cNvSpPr>
          <p:nvPr/>
        </p:nvSpPr>
        <p:spPr bwMode="auto">
          <a:xfrm>
            <a:off x="3507921" y="3121968"/>
            <a:ext cx="990600" cy="369332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Washington, D.C.</a:t>
            </a:r>
          </a:p>
        </p:txBody>
      </p:sp>
      <p:sp>
        <p:nvSpPr>
          <p:cNvPr id="14342" name="Text Box 7"/>
          <p:cNvSpPr txBox="1">
            <a:spLocks noChangeArrowheads="1"/>
          </p:cNvSpPr>
          <p:nvPr/>
        </p:nvSpPr>
        <p:spPr bwMode="auto">
          <a:xfrm>
            <a:off x="4977494" y="2737757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Nottingham.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215391-3403-408C-8ABE-78F60F7A425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375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3" descr="j0408466[1]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990765"/>
            <a:ext cx="9144000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7090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858736" y="6123379"/>
            <a:ext cx="8229600" cy="838200"/>
          </a:xfrm>
        </p:spPr>
        <p:txBody>
          <a:bodyPr/>
          <a:lstStyle/>
          <a:p>
            <a:pPr eaLnBrk="1" hangingPunct="1">
              <a:defRPr/>
            </a:pPr>
            <a:r>
              <a:rPr lang="en-US" sz="3200" dirty="0"/>
              <a:t>Procurement Law Centers Today</a:t>
            </a:r>
          </a:p>
        </p:txBody>
      </p:sp>
      <p:sp>
        <p:nvSpPr>
          <p:cNvPr id="14340" name="Text Box 4"/>
          <p:cNvSpPr txBox="1">
            <a:spLocks noChangeArrowheads="1"/>
          </p:cNvSpPr>
          <p:nvPr/>
        </p:nvSpPr>
        <p:spPr bwMode="auto">
          <a:xfrm>
            <a:off x="3507921" y="3121968"/>
            <a:ext cx="990600" cy="369332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Washington, D.C.</a:t>
            </a:r>
          </a:p>
        </p:txBody>
      </p:sp>
      <p:sp>
        <p:nvSpPr>
          <p:cNvPr id="14341" name="Text Box 5"/>
          <p:cNvSpPr txBox="1">
            <a:spLocks noChangeArrowheads="1"/>
          </p:cNvSpPr>
          <p:nvPr/>
        </p:nvSpPr>
        <p:spPr bwMode="auto">
          <a:xfrm>
            <a:off x="8593567" y="3012792"/>
            <a:ext cx="7620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Beijing</a:t>
            </a:r>
          </a:p>
        </p:txBody>
      </p:sp>
      <p:sp>
        <p:nvSpPr>
          <p:cNvPr id="14342" name="Text Box 7"/>
          <p:cNvSpPr txBox="1">
            <a:spLocks noChangeArrowheads="1"/>
          </p:cNvSpPr>
          <p:nvPr/>
        </p:nvSpPr>
        <p:spPr bwMode="auto">
          <a:xfrm>
            <a:off x="4724400" y="2743200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Nottingham.</a:t>
            </a:r>
          </a:p>
        </p:txBody>
      </p:sp>
      <p:sp>
        <p:nvSpPr>
          <p:cNvPr id="14343" name="Text Box 8"/>
          <p:cNvSpPr txBox="1">
            <a:spLocks noChangeArrowheads="1"/>
          </p:cNvSpPr>
          <p:nvPr/>
        </p:nvSpPr>
        <p:spPr bwMode="auto">
          <a:xfrm>
            <a:off x="5105400" y="2971800"/>
            <a:ext cx="609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Paris</a:t>
            </a:r>
          </a:p>
        </p:txBody>
      </p:sp>
      <p:sp>
        <p:nvSpPr>
          <p:cNvPr id="14344" name="Text Box 9"/>
          <p:cNvSpPr txBox="1">
            <a:spLocks noChangeArrowheads="1"/>
          </p:cNvSpPr>
          <p:nvPr/>
        </p:nvSpPr>
        <p:spPr bwMode="auto">
          <a:xfrm>
            <a:off x="5638800" y="2819417"/>
            <a:ext cx="990600" cy="244475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Munich</a:t>
            </a:r>
          </a:p>
        </p:txBody>
      </p:sp>
      <p:sp>
        <p:nvSpPr>
          <p:cNvPr id="14345" name="Text Box 10"/>
          <p:cNvSpPr txBox="1">
            <a:spLocks noChangeArrowheads="1"/>
          </p:cNvSpPr>
          <p:nvPr/>
        </p:nvSpPr>
        <p:spPr bwMode="auto">
          <a:xfrm>
            <a:off x="5334000" y="3124200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Aix-en-Provence</a:t>
            </a:r>
          </a:p>
        </p:txBody>
      </p:sp>
      <p:sp>
        <p:nvSpPr>
          <p:cNvPr id="14349" name="Text Box 6"/>
          <p:cNvSpPr txBox="1">
            <a:spLocks noChangeArrowheads="1"/>
          </p:cNvSpPr>
          <p:nvPr/>
        </p:nvSpPr>
        <p:spPr bwMode="auto">
          <a:xfrm>
            <a:off x="5731328" y="3303814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Turin</a:t>
            </a:r>
          </a:p>
        </p:txBody>
      </p:sp>
      <p:sp>
        <p:nvSpPr>
          <p:cNvPr id="17" name="Text Box 6"/>
          <p:cNvSpPr txBox="1">
            <a:spLocks noChangeArrowheads="1"/>
          </p:cNvSpPr>
          <p:nvPr/>
        </p:nvSpPr>
        <p:spPr bwMode="auto">
          <a:xfrm>
            <a:off x="5791200" y="4960940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Stellenbosch</a:t>
            </a:r>
          </a:p>
        </p:txBody>
      </p: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5478236" y="2334986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Stockholm</a:t>
            </a:r>
          </a:p>
        </p:txBody>
      </p:sp>
      <p:sp>
        <p:nvSpPr>
          <p:cNvPr id="19" name="Text Box 6"/>
          <p:cNvSpPr txBox="1">
            <a:spLocks noChangeArrowheads="1"/>
          </p:cNvSpPr>
          <p:nvPr/>
        </p:nvSpPr>
        <p:spPr bwMode="auto">
          <a:xfrm>
            <a:off x="5791200" y="2563586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Copenhagen</a:t>
            </a:r>
          </a:p>
        </p:txBody>
      </p:sp>
      <p:sp>
        <p:nvSpPr>
          <p:cNvPr id="20" name="Text Box 6"/>
          <p:cNvSpPr txBox="1">
            <a:spLocks noChangeArrowheads="1"/>
          </p:cNvSpPr>
          <p:nvPr/>
        </p:nvSpPr>
        <p:spPr bwMode="auto">
          <a:xfrm>
            <a:off x="4800600" y="3276600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Galicia</a:t>
            </a:r>
          </a:p>
        </p:txBody>
      </p:sp>
      <p:sp>
        <p:nvSpPr>
          <p:cNvPr id="21" name="Text Box 6"/>
          <p:cNvSpPr txBox="1">
            <a:spLocks noChangeArrowheads="1"/>
          </p:cNvSpPr>
          <p:nvPr/>
        </p:nvSpPr>
        <p:spPr bwMode="auto">
          <a:xfrm>
            <a:off x="5671457" y="3505200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Rome</a:t>
            </a: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6468835" y="2351315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Vilnius</a:t>
            </a:r>
          </a:p>
        </p:txBody>
      </p:sp>
      <p:sp>
        <p:nvSpPr>
          <p:cNvPr id="23" name="Text Box 6"/>
          <p:cNvSpPr txBox="1">
            <a:spLocks noChangeArrowheads="1"/>
          </p:cNvSpPr>
          <p:nvPr/>
        </p:nvSpPr>
        <p:spPr bwMode="auto">
          <a:xfrm>
            <a:off x="6768193" y="2691269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Moscow</a:t>
            </a:r>
          </a:p>
        </p:txBody>
      </p:sp>
      <p:sp>
        <p:nvSpPr>
          <p:cNvPr id="24" name="Text Box 6"/>
          <p:cNvSpPr txBox="1">
            <a:spLocks noChangeArrowheads="1"/>
          </p:cNvSpPr>
          <p:nvPr/>
        </p:nvSpPr>
        <p:spPr bwMode="auto">
          <a:xfrm>
            <a:off x="6324600" y="2971800"/>
            <a:ext cx="990600" cy="228600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Poland</a:t>
            </a:r>
          </a:p>
        </p:txBody>
      </p:sp>
      <p:sp>
        <p:nvSpPr>
          <p:cNvPr id="25" name="Text Box 5"/>
          <p:cNvSpPr txBox="1">
            <a:spLocks noChangeArrowheads="1"/>
          </p:cNvSpPr>
          <p:nvPr/>
        </p:nvSpPr>
        <p:spPr bwMode="auto">
          <a:xfrm>
            <a:off x="8229600" y="2595091"/>
            <a:ext cx="762000" cy="369332"/>
          </a:xfrm>
          <a:prstGeom prst="rect">
            <a:avLst/>
          </a:prstGeom>
          <a:solidFill>
            <a:srgbClr val="8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amond" pitchFamily="18" charset="0"/>
                <a:ea typeface="ＭＳ Ｐゴシック"/>
                <a:cs typeface="+mn-cs"/>
              </a:rPr>
              <a:t>Northern China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215391-3403-408C-8ABE-78F60F7A425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028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2A587A-B6AC-4673-A79A-A406EF4BD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 of Corrup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E275ED-1EA1-4780-851D-B24F202F58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29606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93C6EAB-EFFE-4135-A546-840B9D9F3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of Georgia on Conflict of Interes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FCE418-BA52-4095-A8CA-71F53B56ED7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4000" dirty="0"/>
              <a:t>“’Corruption in public service' is the abuse of the position or the opportunities related to the position by a public servant in order to obtain property or other assets prohibited by law . . . “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603047-C270-4907-9690-16515FFB510B}"/>
              </a:ext>
            </a:extLst>
          </p:cNvPr>
          <p:cNvSpPr txBox="1"/>
          <p:nvPr/>
        </p:nvSpPr>
        <p:spPr>
          <a:xfrm>
            <a:off x="3044757" y="5456948"/>
            <a:ext cx="9046724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oes this definition “fit” corruption in public procurement?</a:t>
            </a:r>
          </a:p>
        </p:txBody>
      </p:sp>
    </p:spTree>
    <p:extLst>
      <p:ext uri="{BB962C8B-B14F-4D97-AF65-F5344CB8AC3E}">
        <p14:creationId xmlns:p14="http://schemas.microsoft.com/office/powerpoint/2010/main" val="16112762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C534E0-AF1C-4BAA-9821-2019C23A4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/>
              <a:t>Risks of Corruption in procurem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EF9C6DB-2DB7-474A-BD7A-9BFBA4A20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2F38E86-00DB-4479-8CFF-DFF5598D7970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217FD-13C5-43D0-894A-847CF7259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3200" b="1" dirty="0">
                <a:solidFill>
                  <a:schemeClr val="tx1"/>
                </a:solidFill>
              </a:rPr>
              <a:t>Risk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CC7CDF8-157E-4BDF-80D0-F26596A3F24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481320" y="1687749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397</Words>
  <Application>Microsoft Office PowerPoint</Application>
  <PresentationFormat>Widescreen</PresentationFormat>
  <Paragraphs>65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Calibri</vt:lpstr>
      <vt:lpstr>Calibri Light</vt:lpstr>
      <vt:lpstr>Franklin Gothic Book</vt:lpstr>
      <vt:lpstr>Garamond</vt:lpstr>
      <vt:lpstr>Office Theme</vt:lpstr>
      <vt:lpstr>Standarddesign</vt:lpstr>
      <vt:lpstr>Packager Shell Object</vt:lpstr>
      <vt:lpstr>Bitmap Image</vt:lpstr>
      <vt:lpstr>think-cell Slide</vt:lpstr>
      <vt:lpstr>The Devastating Consequences of Corruption in Public Procurement – Presentation of International Cases</vt:lpstr>
      <vt:lpstr>Readings &amp; Videos</vt:lpstr>
      <vt:lpstr>George Washington University Law School</vt:lpstr>
      <vt:lpstr>Procurement Law Centers: 2000</vt:lpstr>
      <vt:lpstr>Procurement Law Centers Today</vt:lpstr>
      <vt:lpstr>Definition of Corruption</vt:lpstr>
      <vt:lpstr>Law of Georgia on Conflict of Interest</vt:lpstr>
      <vt:lpstr>Risks of Corruption in procurement</vt:lpstr>
      <vt:lpstr>Risks</vt:lpstr>
      <vt:lpstr>Performance Risk:  New Orleans</vt:lpstr>
      <vt:lpstr>Performance Risk:   Florida International University</vt:lpstr>
      <vt:lpstr>Reputation Risk</vt:lpstr>
      <vt:lpstr>“Boss” Tweed:  Fiduciary Risks of Misdirected Funds</vt:lpstr>
      <vt:lpstr>Impact of Corruption in Public Procurement in Georgi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Devastating Consequences of Corruption in Public Procurement – Presentation of International Cases</dc:title>
  <dc:creator>Yukins, Christopher R.</dc:creator>
  <cp:lastModifiedBy>Yukins, Christopher R.</cp:lastModifiedBy>
  <cp:revision>1</cp:revision>
  <dcterms:created xsi:type="dcterms:W3CDTF">2019-10-25T12:00:43Z</dcterms:created>
  <dcterms:modified xsi:type="dcterms:W3CDTF">2019-10-25T12:04:21Z</dcterms:modified>
</cp:coreProperties>
</file>